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15"/>
  </p:notesMasterIdLst>
  <p:handoutMasterIdLst>
    <p:handoutMasterId r:id="rId16"/>
  </p:handoutMasterIdLst>
  <p:sldIdLst>
    <p:sldId id="270" r:id="rId5"/>
    <p:sldId id="280" r:id="rId6"/>
    <p:sldId id="271" r:id="rId7"/>
    <p:sldId id="273" r:id="rId8"/>
    <p:sldId id="274" r:id="rId9"/>
    <p:sldId id="277" r:id="rId10"/>
    <p:sldId id="278" r:id="rId11"/>
    <p:sldId id="279" r:id="rId12"/>
    <p:sldId id="272" r:id="rId13"/>
    <p:sldId id="281" r:id="rId14"/>
  </p:sldIdLst>
  <p:sldSz cx="9144000" cy="6858000" type="screen4x3"/>
  <p:notesSz cx="7010400" cy="92964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8">
          <p15:clr>
            <a:srgbClr val="A4A3A4"/>
          </p15:clr>
        </p15:guide>
        <p15:guide id="2" orient="horz" pos="3927">
          <p15:clr>
            <a:srgbClr val="A4A3A4"/>
          </p15:clr>
        </p15:guide>
        <p15:guide id="3" orient="horz" pos="292">
          <p15:clr>
            <a:srgbClr val="A4A3A4"/>
          </p15:clr>
        </p15:guide>
        <p15:guide id="4" pos="221">
          <p15:clr>
            <a:srgbClr val="A4A3A4"/>
          </p15:clr>
        </p15:guide>
        <p15:guide id="5" pos="553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1B40"/>
    <a:srgbClr val="1A2C80"/>
    <a:srgbClr val="5D7E95"/>
    <a:srgbClr val="0C4BA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D5995-6CEF-4ABB-A341-FB3D1C47D5AD}" v="619" dt="2021-07-15T22:41:56.854"/>
    <p1510:client id="{232D03BD-AA3A-48A2-A4BF-02D22985EBA5}" v="136" dt="2021-07-15T21:12:31.754"/>
    <p1510:client id="{2578FB91-D7EA-4D68-93B0-5F9C3DF9EA35}" v="27" dt="2021-07-15T23:09:36.461"/>
    <p1510:client id="{2FBBB7A0-D0C9-4B8B-8DAB-EE986ED91514}" v="2854" dt="2021-07-15T23:36:01.374"/>
    <p1510:client id="{446030B5-07FB-46C1-9664-63E790ABE610}" v="8" dt="2021-07-16T00:48:42.715"/>
    <p1510:client id="{465B706F-A14D-48B3-A0FD-54DB493F66D4}" v="1837" dt="2021-07-15T23:57:12.955"/>
    <p1510:client id="{4ADC016F-37B9-413E-BF34-B2F89BC39E01}" v="6" dt="2021-07-15T22:40:52.139"/>
    <p1510:client id="{5A4D8B18-06A3-4BDD-9073-C93B68C670E5}" v="157" dt="2021-07-15T22:58:00.986"/>
    <p1510:client id="{6463DD9F-8BF3-42BA-A362-DE674DD857B4}" v="44" dt="2021-07-16T00:19:16.842"/>
    <p1510:client id="{64A66309-CE56-411F-88DF-8528A514B86A}" v="117" dt="2021-07-15T22:02:20.779"/>
    <p1510:client id="{71C5E95E-9FEC-4E84-B0AD-97878DC15372}" v="370" dt="2021-07-16T00:39:43.713"/>
    <p1510:client id="{7500B948-216D-5C4E-BD07-96A71810026E}" v="14" dt="2021-07-15T22:43:19.370"/>
    <p1510:client id="{9BD572BE-8698-4268-B8C2-4B990665C47E}" v="65" dt="2021-07-16T00:43:41.767"/>
    <p1510:client id="{B6C58466-E735-4F11-95AD-90928C52D5FD}" v="111" dt="2021-07-15T23:07:26.251"/>
    <p1510:client id="{C475BEAE-34E0-4264-8A86-42B1B962DF65}" v="11" dt="2021-07-15T22:28:30.828"/>
    <p1510:client id="{CC38C25D-AC9B-494A-8E27-6A494D1446F2}" v="6" dt="2021-07-15T00:12:53.041"/>
    <p1510:client id="{D506F9A8-C8E7-4B22-BD23-94824716462E}" v="575" dt="2021-07-16T00:44:34.988"/>
    <p1510:client id="{D7FE7AF3-0F47-4EC6-BA05-637A884B9878}" v="736" dt="2021-07-15T19:24:29.812"/>
    <p1510:client id="{D9801063-7B4A-40CC-B5F3-5EFEF087F137}" v="456" dt="2021-07-15T21:49:03.103"/>
    <p1510:client id="{E03F628C-3594-4C13-9E63-D337D8456C09}" v="426" dt="2021-07-15T22:11:14.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988"/>
        <p:guide orient="horz" pos="3927"/>
        <p:guide orient="horz" pos="292"/>
        <p:guide pos="221"/>
        <p:guide pos="5539"/>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ales, Matt R." userId="S::gonzo@ou.edu::cd2df778-d6f0-4740-9f70-dd48273c605b" providerId="AD" clId="Web-{B78E3D72-BA6A-4993-A52F-2352B701D4C8}"/>
    <pc:docChg chg="modSld">
      <pc:chgData name="Gonzales, Matt R." userId="S::gonzo@ou.edu::cd2df778-d6f0-4740-9f70-dd48273c605b" providerId="AD" clId="Web-{B78E3D72-BA6A-4993-A52F-2352B701D4C8}" dt="2021-07-14T03:07:23.557" v="12" actId="20577"/>
      <pc:docMkLst>
        <pc:docMk/>
      </pc:docMkLst>
      <pc:sldChg chg="modSp">
        <pc:chgData name="Gonzales, Matt R." userId="S::gonzo@ou.edu::cd2df778-d6f0-4740-9f70-dd48273c605b" providerId="AD" clId="Web-{B78E3D72-BA6A-4993-A52F-2352B701D4C8}" dt="2021-07-14T03:07:23.557" v="12" actId="20577"/>
        <pc:sldMkLst>
          <pc:docMk/>
          <pc:sldMk cId="3160917922" sldId="275"/>
        </pc:sldMkLst>
        <pc:spChg chg="mod">
          <ac:chgData name="Gonzales, Matt R." userId="S::gonzo@ou.edu::cd2df778-d6f0-4740-9f70-dd48273c605b" providerId="AD" clId="Web-{B78E3D72-BA6A-4993-A52F-2352B701D4C8}" dt="2021-07-14T03:07:23.557" v="12" actId="20577"/>
          <ac:spMkLst>
            <pc:docMk/>
            <pc:sldMk cId="3160917922" sldId="275"/>
            <ac:spMk id="2" creationId="{C05BD4A5-0314-43F2-A438-29B3D8F5769F}"/>
          </ac:spMkLst>
        </pc:spChg>
      </pc:sldChg>
    </pc:docChg>
  </pc:docChgLst>
  <pc:docChgLst>
    <pc:chgData name="Gonzales, Matt R." userId="S::gonzo@ou.edu::cd2df778-d6f0-4740-9f70-dd48273c605b" providerId="AD" clId="Web-{5A4D8B18-06A3-4BDD-9073-C93B68C670E5}"/>
    <pc:docChg chg="modSld">
      <pc:chgData name="Gonzales, Matt R." userId="S::gonzo@ou.edu::cd2df778-d6f0-4740-9f70-dd48273c605b" providerId="AD" clId="Web-{5A4D8B18-06A3-4BDD-9073-C93B68C670E5}" dt="2021-07-15T22:57:57.282" v="841"/>
      <pc:docMkLst>
        <pc:docMk/>
      </pc:docMkLst>
      <pc:sldChg chg="modSp modNotes">
        <pc:chgData name="Gonzales, Matt R." userId="S::gonzo@ou.edu::cd2df778-d6f0-4740-9f70-dd48273c605b" providerId="AD" clId="Web-{5A4D8B18-06A3-4BDD-9073-C93B68C670E5}" dt="2021-07-15T22:57:57.282" v="841"/>
        <pc:sldMkLst>
          <pc:docMk/>
          <pc:sldMk cId="2486767940" sldId="279"/>
        </pc:sldMkLst>
        <pc:spChg chg="mod">
          <ac:chgData name="Gonzales, Matt R." userId="S::gonzo@ou.edu::cd2df778-d6f0-4740-9f70-dd48273c605b" providerId="AD" clId="Web-{5A4D8B18-06A3-4BDD-9073-C93B68C670E5}" dt="2021-07-15T22:49:22.627" v="434" actId="20577"/>
          <ac:spMkLst>
            <pc:docMk/>
            <pc:sldMk cId="2486767940" sldId="279"/>
            <ac:spMk id="2" creationId="{E7827408-BB20-4AFA-B0C8-C7EBF84D74A0}"/>
          </ac:spMkLst>
        </pc:spChg>
      </pc:sldChg>
    </pc:docChg>
  </pc:docChgLst>
  <pc:docChgLst>
    <pc:chgData name="Chaussee, Meredith L." userId="S::meredith.l.chaussee@ou.edu::1443184a-278a-4403-8dfb-216d88761e6e" providerId="AD" clId="Web-{6463DD9F-8BF3-42BA-A362-DE674DD857B4}"/>
    <pc:docChg chg="modSld sldOrd">
      <pc:chgData name="Chaussee, Meredith L." userId="S::meredith.l.chaussee@ou.edu::1443184a-278a-4403-8dfb-216d88761e6e" providerId="AD" clId="Web-{6463DD9F-8BF3-42BA-A362-DE674DD857B4}" dt="2021-07-16T00:19:16.842" v="23" actId="1076"/>
      <pc:docMkLst>
        <pc:docMk/>
      </pc:docMkLst>
      <pc:sldChg chg="modSp ord">
        <pc:chgData name="Chaussee, Meredith L." userId="S::meredith.l.chaussee@ou.edu::1443184a-278a-4403-8dfb-216d88761e6e" providerId="AD" clId="Web-{6463DD9F-8BF3-42BA-A362-DE674DD857B4}" dt="2021-07-16T00:18:29.232" v="5"/>
        <pc:sldMkLst>
          <pc:docMk/>
          <pc:sldMk cId="2990767272" sldId="272"/>
        </pc:sldMkLst>
        <pc:spChg chg="mod">
          <ac:chgData name="Chaussee, Meredith L." userId="S::meredith.l.chaussee@ou.edu::1443184a-278a-4403-8dfb-216d88761e6e" providerId="AD" clId="Web-{6463DD9F-8BF3-42BA-A362-DE674DD857B4}" dt="2021-07-16T00:18:26.435" v="3" actId="20577"/>
          <ac:spMkLst>
            <pc:docMk/>
            <pc:sldMk cId="2990767272" sldId="272"/>
            <ac:spMk id="2" creationId="{C75AFAF8-95A5-45ED-BD78-4C3590DDB13D}"/>
          </ac:spMkLst>
        </pc:spChg>
      </pc:sldChg>
      <pc:sldChg chg="modSp">
        <pc:chgData name="Chaussee, Meredith L." userId="S::meredith.l.chaussee@ou.edu::1443184a-278a-4403-8dfb-216d88761e6e" providerId="AD" clId="Web-{6463DD9F-8BF3-42BA-A362-DE674DD857B4}" dt="2021-07-16T00:19:01.014" v="21" actId="20577"/>
        <pc:sldMkLst>
          <pc:docMk/>
          <pc:sldMk cId="1154681038" sldId="273"/>
        </pc:sldMkLst>
        <pc:spChg chg="mod">
          <ac:chgData name="Chaussee, Meredith L." userId="S::meredith.l.chaussee@ou.edu::1443184a-278a-4403-8dfb-216d88761e6e" providerId="AD" clId="Web-{6463DD9F-8BF3-42BA-A362-DE674DD857B4}" dt="2021-07-16T00:19:01.014" v="21" actId="20577"/>
          <ac:spMkLst>
            <pc:docMk/>
            <pc:sldMk cId="1154681038" sldId="273"/>
            <ac:spMk id="2" creationId="{6AA234CB-7DD0-49A9-8127-3C64005173BD}"/>
          </ac:spMkLst>
        </pc:spChg>
      </pc:sldChg>
      <pc:sldChg chg="modSp">
        <pc:chgData name="Chaussee, Meredith L." userId="S::meredith.l.chaussee@ou.edu::1443184a-278a-4403-8dfb-216d88761e6e" providerId="AD" clId="Web-{6463DD9F-8BF3-42BA-A362-DE674DD857B4}" dt="2021-07-16T00:19:10.545" v="22" actId="1076"/>
        <pc:sldMkLst>
          <pc:docMk/>
          <pc:sldMk cId="1302074012" sldId="274"/>
        </pc:sldMkLst>
        <pc:spChg chg="mod">
          <ac:chgData name="Chaussee, Meredith L." userId="S::meredith.l.chaussee@ou.edu::1443184a-278a-4403-8dfb-216d88761e6e" providerId="AD" clId="Web-{6463DD9F-8BF3-42BA-A362-DE674DD857B4}" dt="2021-07-16T00:19:10.545" v="22" actId="1076"/>
          <ac:spMkLst>
            <pc:docMk/>
            <pc:sldMk cId="1302074012" sldId="274"/>
            <ac:spMk id="2" creationId="{AE93260A-CBE2-41AE-8F88-A626BD4667E7}"/>
          </ac:spMkLst>
        </pc:spChg>
      </pc:sldChg>
      <pc:sldChg chg="modSp">
        <pc:chgData name="Chaussee, Meredith L." userId="S::meredith.l.chaussee@ou.edu::1443184a-278a-4403-8dfb-216d88761e6e" providerId="AD" clId="Web-{6463DD9F-8BF3-42BA-A362-DE674DD857B4}" dt="2021-07-16T00:19:16.842" v="23" actId="1076"/>
        <pc:sldMkLst>
          <pc:docMk/>
          <pc:sldMk cId="3051305305" sldId="277"/>
        </pc:sldMkLst>
        <pc:spChg chg="mod">
          <ac:chgData name="Chaussee, Meredith L." userId="S::meredith.l.chaussee@ou.edu::1443184a-278a-4403-8dfb-216d88761e6e" providerId="AD" clId="Web-{6463DD9F-8BF3-42BA-A362-DE674DD857B4}" dt="2021-07-16T00:19:16.842" v="23" actId="1076"/>
          <ac:spMkLst>
            <pc:docMk/>
            <pc:sldMk cId="3051305305" sldId="277"/>
            <ac:spMk id="2" creationId="{20EFA8C8-6EB0-4A2B-948F-6B422083D317}"/>
          </ac:spMkLst>
        </pc:spChg>
      </pc:sldChg>
    </pc:docChg>
  </pc:docChgLst>
  <pc:docChgLst>
    <pc:chgData name="Rogers, Chris L." userId="S::chris.rogers@ou.edu::7a77fef6-e1a0-4651-85f7-3f45b93f3063" providerId="AD" clId="Web-{2578FB91-D7EA-4D68-93B0-5F9C3DF9EA35}"/>
    <pc:docChg chg="modSld">
      <pc:chgData name="Rogers, Chris L." userId="S::chris.rogers@ou.edu::7a77fef6-e1a0-4651-85f7-3f45b93f3063" providerId="AD" clId="Web-{2578FB91-D7EA-4D68-93B0-5F9C3DF9EA35}" dt="2021-07-15T23:09:36.461" v="22" actId="14100"/>
      <pc:docMkLst>
        <pc:docMk/>
      </pc:docMkLst>
      <pc:sldChg chg="addSp modSp modNotes">
        <pc:chgData name="Rogers, Chris L." userId="S::chris.rogers@ou.edu::7a77fef6-e1a0-4651-85f7-3f45b93f3063" providerId="AD" clId="Web-{2578FB91-D7EA-4D68-93B0-5F9C3DF9EA35}" dt="2021-07-15T23:09:36.461" v="22" actId="14100"/>
        <pc:sldMkLst>
          <pc:docMk/>
          <pc:sldMk cId="2239950993" sldId="271"/>
        </pc:sldMkLst>
        <pc:spChg chg="add mod">
          <ac:chgData name="Rogers, Chris L." userId="S::chris.rogers@ou.edu::7a77fef6-e1a0-4651-85f7-3f45b93f3063" providerId="AD" clId="Web-{2578FB91-D7EA-4D68-93B0-5F9C3DF9EA35}" dt="2021-07-15T23:09:31.008" v="21"/>
          <ac:spMkLst>
            <pc:docMk/>
            <pc:sldMk cId="2239950993" sldId="271"/>
            <ac:spMk id="2" creationId="{D947F17C-9AC3-4E02-B2F6-FDE613A26AD6}"/>
          </ac:spMkLst>
        </pc:spChg>
        <pc:spChg chg="mod">
          <ac:chgData name="Rogers, Chris L." userId="S::chris.rogers@ou.edu::7a77fef6-e1a0-4651-85f7-3f45b93f3063" providerId="AD" clId="Web-{2578FB91-D7EA-4D68-93B0-5F9C3DF9EA35}" dt="2021-07-15T23:09:36.461" v="22" actId="14100"/>
          <ac:spMkLst>
            <pc:docMk/>
            <pc:sldMk cId="2239950993" sldId="271"/>
            <ac:spMk id="3" creationId="{00000000-0000-0000-0000-000000000000}"/>
          </ac:spMkLst>
        </pc:spChg>
      </pc:sldChg>
    </pc:docChg>
  </pc:docChgLst>
  <pc:docChgLst>
    <pc:chgData name="Rogers, Chris L." userId="S::chris.rogers@ou.edu::7a77fef6-e1a0-4651-85f7-3f45b93f3063" providerId="AD" clId="Web-{FF83B96A-B813-4D05-9A1F-4AB88B9D7E91}"/>
    <pc:docChg chg="addSld modSld">
      <pc:chgData name="Rogers, Chris L." userId="S::chris.rogers@ou.edu::7a77fef6-e1a0-4651-85f7-3f45b93f3063" providerId="AD" clId="Web-{FF83B96A-B813-4D05-9A1F-4AB88B9D7E91}" dt="2021-07-14T03:22:57.992" v="121" actId="20577"/>
      <pc:docMkLst>
        <pc:docMk/>
      </pc:docMkLst>
      <pc:sldChg chg="modSp">
        <pc:chgData name="Rogers, Chris L." userId="S::chris.rogers@ou.edu::7a77fef6-e1a0-4651-85f7-3f45b93f3063" providerId="AD" clId="Web-{FF83B96A-B813-4D05-9A1F-4AB88B9D7E91}" dt="2021-07-14T03:13:37.584" v="4" actId="20577"/>
        <pc:sldMkLst>
          <pc:docMk/>
          <pc:sldMk cId="2239950993" sldId="271"/>
        </pc:sldMkLst>
        <pc:spChg chg="mod">
          <ac:chgData name="Rogers, Chris L." userId="S::chris.rogers@ou.edu::7a77fef6-e1a0-4651-85f7-3f45b93f3063" providerId="AD" clId="Web-{FF83B96A-B813-4D05-9A1F-4AB88B9D7E91}" dt="2021-07-14T03:13:37.584" v="4" actId="20577"/>
          <ac:spMkLst>
            <pc:docMk/>
            <pc:sldMk cId="2239950993" sldId="271"/>
            <ac:spMk id="5" creationId="{00000000-0000-0000-0000-000000000000}"/>
          </ac:spMkLst>
        </pc:spChg>
      </pc:sldChg>
      <pc:sldChg chg="addSp delSp modSp">
        <pc:chgData name="Rogers, Chris L." userId="S::chris.rogers@ou.edu::7a77fef6-e1a0-4651-85f7-3f45b93f3063" providerId="AD" clId="Web-{FF83B96A-B813-4D05-9A1F-4AB88B9D7E91}" dt="2021-07-14T03:21:07.782" v="81" actId="1076"/>
        <pc:sldMkLst>
          <pc:docMk/>
          <pc:sldMk cId="2990767272" sldId="272"/>
        </pc:sldMkLst>
        <pc:spChg chg="add mod">
          <ac:chgData name="Rogers, Chris L." userId="S::chris.rogers@ou.edu::7a77fef6-e1a0-4651-85f7-3f45b93f3063" providerId="AD" clId="Web-{FF83B96A-B813-4D05-9A1F-4AB88B9D7E91}" dt="2021-07-14T03:21:07.782" v="81" actId="1076"/>
          <ac:spMkLst>
            <pc:docMk/>
            <pc:sldMk cId="2990767272" sldId="272"/>
            <ac:spMk id="2" creationId="{C75AFAF8-95A5-45ED-BD78-4C3590DDB13D}"/>
          </ac:spMkLst>
        </pc:spChg>
        <pc:spChg chg="add del mod">
          <ac:chgData name="Rogers, Chris L." userId="S::chris.rogers@ou.edu::7a77fef6-e1a0-4651-85f7-3f45b93f3063" providerId="AD" clId="Web-{FF83B96A-B813-4D05-9A1F-4AB88B9D7E91}" dt="2021-07-14T03:21:00.001" v="77"/>
          <ac:spMkLst>
            <pc:docMk/>
            <pc:sldMk cId="2990767272" sldId="272"/>
            <ac:spMk id="3" creationId="{7325D693-3CEF-42D6-AD0F-7E97901CE447}"/>
          </ac:spMkLst>
        </pc:spChg>
        <pc:spChg chg="mod">
          <ac:chgData name="Rogers, Chris L." userId="S::chris.rogers@ou.edu::7a77fef6-e1a0-4651-85f7-3f45b93f3063" providerId="AD" clId="Web-{FF83B96A-B813-4D05-9A1F-4AB88B9D7E91}" dt="2021-07-14T03:13:57.445" v="16" actId="20577"/>
          <ac:spMkLst>
            <pc:docMk/>
            <pc:sldMk cId="2990767272" sldId="272"/>
            <ac:spMk id="5" creationId="{00000000-0000-0000-0000-000000000000}"/>
          </ac:spMkLst>
        </pc:spChg>
      </pc:sldChg>
      <pc:sldChg chg="addSp delSp modSp">
        <pc:chgData name="Rogers, Chris L." userId="S::chris.rogers@ou.edu::7a77fef6-e1a0-4651-85f7-3f45b93f3063" providerId="AD" clId="Web-{FF83B96A-B813-4D05-9A1F-4AB88B9D7E91}" dt="2021-07-14T03:20:09.357" v="73" actId="1076"/>
        <pc:sldMkLst>
          <pc:docMk/>
          <pc:sldMk cId="1154681038" sldId="273"/>
        </pc:sldMkLst>
        <pc:spChg chg="add mod">
          <ac:chgData name="Rogers, Chris L." userId="S::chris.rogers@ou.edu::7a77fef6-e1a0-4651-85f7-3f45b93f3063" providerId="AD" clId="Web-{FF83B96A-B813-4D05-9A1F-4AB88B9D7E91}" dt="2021-07-14T03:20:09.357" v="73" actId="1076"/>
          <ac:spMkLst>
            <pc:docMk/>
            <pc:sldMk cId="1154681038" sldId="273"/>
            <ac:spMk id="2" creationId="{6AA234CB-7DD0-49A9-8127-3C64005173BD}"/>
          </ac:spMkLst>
        </pc:spChg>
        <pc:spChg chg="del">
          <ac:chgData name="Rogers, Chris L." userId="S::chris.rogers@ou.edu::7a77fef6-e1a0-4651-85f7-3f45b93f3063" providerId="AD" clId="Web-{FF83B96A-B813-4D05-9A1F-4AB88B9D7E91}" dt="2021-07-14T03:19:30.511" v="66"/>
          <ac:spMkLst>
            <pc:docMk/>
            <pc:sldMk cId="1154681038" sldId="273"/>
            <ac:spMk id="5" creationId="{00000000-0000-0000-0000-000000000000}"/>
          </ac:spMkLst>
        </pc:spChg>
        <pc:spChg chg="del">
          <ac:chgData name="Rogers, Chris L." userId="S::chris.rogers@ou.edu::7a77fef6-e1a0-4651-85f7-3f45b93f3063" providerId="AD" clId="Web-{FF83B96A-B813-4D05-9A1F-4AB88B9D7E91}" dt="2021-07-14T03:19:33.043" v="67"/>
          <ac:spMkLst>
            <pc:docMk/>
            <pc:sldMk cId="1154681038" sldId="273"/>
            <ac:spMk id="6" creationId="{00000000-0000-0000-0000-000000000000}"/>
          </ac:spMkLst>
        </pc:spChg>
        <pc:spChg chg="mod">
          <ac:chgData name="Rogers, Chris L." userId="S::chris.rogers@ou.edu::7a77fef6-e1a0-4651-85f7-3f45b93f3063" providerId="AD" clId="Web-{FF83B96A-B813-4D05-9A1F-4AB88B9D7E91}" dt="2021-07-14T03:13:47.725" v="8" actId="20577"/>
          <ac:spMkLst>
            <pc:docMk/>
            <pc:sldMk cId="1154681038" sldId="273"/>
            <ac:spMk id="8" creationId="{00000000-0000-0000-0000-000000000000}"/>
          </ac:spMkLst>
        </pc:spChg>
      </pc:sldChg>
      <pc:sldChg chg="addSp modSp">
        <pc:chgData name="Rogers, Chris L." userId="S::chris.rogers@ou.edu::7a77fef6-e1a0-4651-85f7-3f45b93f3063" providerId="AD" clId="Web-{FF83B96A-B813-4D05-9A1F-4AB88B9D7E91}" dt="2021-07-14T03:21:29.159" v="86" actId="1076"/>
        <pc:sldMkLst>
          <pc:docMk/>
          <pc:sldMk cId="1302074012" sldId="274"/>
        </pc:sldMkLst>
        <pc:spChg chg="add mod">
          <ac:chgData name="Rogers, Chris L." userId="S::chris.rogers@ou.edu::7a77fef6-e1a0-4651-85f7-3f45b93f3063" providerId="AD" clId="Web-{FF83B96A-B813-4D05-9A1F-4AB88B9D7E91}" dt="2021-07-14T03:21:29.159" v="86" actId="1076"/>
          <ac:spMkLst>
            <pc:docMk/>
            <pc:sldMk cId="1302074012" sldId="274"/>
            <ac:spMk id="2" creationId="{AE93260A-CBE2-41AE-8F88-A626BD4667E7}"/>
          </ac:spMkLst>
        </pc:spChg>
        <pc:spChg chg="mod">
          <ac:chgData name="Rogers, Chris L." userId="S::chris.rogers@ou.edu::7a77fef6-e1a0-4651-85f7-3f45b93f3063" providerId="AD" clId="Web-{FF83B96A-B813-4D05-9A1F-4AB88B9D7E91}" dt="2021-07-14T03:14:13.914" v="17" actId="20577"/>
          <ac:spMkLst>
            <pc:docMk/>
            <pc:sldMk cId="1302074012" sldId="274"/>
            <ac:spMk id="4" creationId="{00000000-0000-0000-0000-000000000000}"/>
          </ac:spMkLst>
        </pc:spChg>
      </pc:sldChg>
      <pc:sldChg chg="addSp modSp add replId">
        <pc:chgData name="Rogers, Chris L." userId="S::chris.rogers@ou.edu::7a77fef6-e1a0-4651-85f7-3f45b93f3063" providerId="AD" clId="Web-{FF83B96A-B813-4D05-9A1F-4AB88B9D7E91}" dt="2021-07-14T03:21:49.785" v="91" actId="1076"/>
        <pc:sldMkLst>
          <pc:docMk/>
          <pc:sldMk cId="3668033603" sldId="276"/>
        </pc:sldMkLst>
        <pc:spChg chg="add mod">
          <ac:chgData name="Rogers, Chris L." userId="S::chris.rogers@ou.edu::7a77fef6-e1a0-4651-85f7-3f45b93f3063" providerId="AD" clId="Web-{FF83B96A-B813-4D05-9A1F-4AB88B9D7E91}" dt="2021-07-14T03:21:49.785" v="91" actId="1076"/>
          <ac:spMkLst>
            <pc:docMk/>
            <pc:sldMk cId="3668033603" sldId="276"/>
            <ac:spMk id="2" creationId="{1DC14C53-9392-40AC-AA35-3FA830AC4EE1}"/>
          </ac:spMkLst>
        </pc:spChg>
        <pc:spChg chg="mod">
          <ac:chgData name="Rogers, Chris L." userId="S::chris.rogers@ou.edu::7a77fef6-e1a0-4651-85f7-3f45b93f3063" providerId="AD" clId="Web-{FF83B96A-B813-4D05-9A1F-4AB88B9D7E91}" dt="2021-07-14T03:14:38.806" v="26" actId="20577"/>
          <ac:spMkLst>
            <pc:docMk/>
            <pc:sldMk cId="3668033603" sldId="276"/>
            <ac:spMk id="4" creationId="{00000000-0000-0000-0000-000000000000}"/>
          </ac:spMkLst>
        </pc:spChg>
      </pc:sldChg>
      <pc:sldChg chg="addSp modSp add replId">
        <pc:chgData name="Rogers, Chris L." userId="S::chris.rogers@ou.edu::7a77fef6-e1a0-4651-85f7-3f45b93f3063" providerId="AD" clId="Web-{FF83B96A-B813-4D05-9A1F-4AB88B9D7E91}" dt="2021-07-14T03:22:08.473" v="96" actId="1076"/>
        <pc:sldMkLst>
          <pc:docMk/>
          <pc:sldMk cId="3051305305" sldId="277"/>
        </pc:sldMkLst>
        <pc:spChg chg="add mod">
          <ac:chgData name="Rogers, Chris L." userId="S::chris.rogers@ou.edu::7a77fef6-e1a0-4651-85f7-3f45b93f3063" providerId="AD" clId="Web-{FF83B96A-B813-4D05-9A1F-4AB88B9D7E91}" dt="2021-07-14T03:22:08.473" v="96" actId="1076"/>
          <ac:spMkLst>
            <pc:docMk/>
            <pc:sldMk cId="3051305305" sldId="277"/>
            <ac:spMk id="2" creationId="{20EFA8C8-6EB0-4A2B-948F-6B422083D317}"/>
          </ac:spMkLst>
        </pc:spChg>
        <pc:spChg chg="mod">
          <ac:chgData name="Rogers, Chris L." userId="S::chris.rogers@ou.edu::7a77fef6-e1a0-4651-85f7-3f45b93f3063" providerId="AD" clId="Web-{FF83B96A-B813-4D05-9A1F-4AB88B9D7E91}" dt="2021-07-14T03:14:56.229" v="42" actId="20577"/>
          <ac:spMkLst>
            <pc:docMk/>
            <pc:sldMk cId="3051305305" sldId="277"/>
            <ac:spMk id="4" creationId="{00000000-0000-0000-0000-000000000000}"/>
          </ac:spMkLst>
        </pc:spChg>
      </pc:sldChg>
      <pc:sldChg chg="modSp add replId modNotes">
        <pc:chgData name="Rogers, Chris L." userId="S::chris.rogers@ou.edu::7a77fef6-e1a0-4651-85f7-3f45b93f3063" providerId="AD" clId="Web-{FF83B96A-B813-4D05-9A1F-4AB88B9D7E91}" dt="2021-07-14T03:22:31.319" v="108" actId="20577"/>
        <pc:sldMkLst>
          <pc:docMk/>
          <pc:sldMk cId="497344859" sldId="278"/>
        </pc:sldMkLst>
        <pc:spChg chg="mod">
          <ac:chgData name="Rogers, Chris L." userId="S::chris.rogers@ou.edu::7a77fef6-e1a0-4651-85f7-3f45b93f3063" providerId="AD" clId="Web-{FF83B96A-B813-4D05-9A1F-4AB88B9D7E91}" dt="2021-07-14T03:22:31.319" v="108" actId="20577"/>
          <ac:spMkLst>
            <pc:docMk/>
            <pc:sldMk cId="497344859" sldId="278"/>
            <ac:spMk id="2" creationId="{7ABF8A3A-B645-4E3D-8310-244227FEF7FA}"/>
          </ac:spMkLst>
        </pc:spChg>
        <pc:spChg chg="mod">
          <ac:chgData name="Rogers, Chris L." userId="S::chris.rogers@ou.edu::7a77fef6-e1a0-4651-85f7-3f45b93f3063" providerId="AD" clId="Web-{FF83B96A-B813-4D05-9A1F-4AB88B9D7E91}" dt="2021-07-14T03:15:21.043" v="55" actId="20577"/>
          <ac:spMkLst>
            <pc:docMk/>
            <pc:sldMk cId="497344859" sldId="278"/>
            <ac:spMk id="4" creationId="{00000000-0000-0000-0000-000000000000}"/>
          </ac:spMkLst>
        </pc:spChg>
      </pc:sldChg>
      <pc:sldChg chg="addSp modSp add replId">
        <pc:chgData name="Rogers, Chris L." userId="S::chris.rogers@ou.edu::7a77fef6-e1a0-4651-85f7-3f45b93f3063" providerId="AD" clId="Web-{FF83B96A-B813-4D05-9A1F-4AB88B9D7E91}" dt="2021-07-14T03:22:57.992" v="121" actId="20577"/>
        <pc:sldMkLst>
          <pc:docMk/>
          <pc:sldMk cId="2486767940" sldId="279"/>
        </pc:sldMkLst>
        <pc:spChg chg="add mod">
          <ac:chgData name="Rogers, Chris L." userId="S::chris.rogers@ou.edu::7a77fef6-e1a0-4651-85f7-3f45b93f3063" providerId="AD" clId="Web-{FF83B96A-B813-4D05-9A1F-4AB88B9D7E91}" dt="2021-07-14T03:22:57.992" v="121" actId="20577"/>
          <ac:spMkLst>
            <pc:docMk/>
            <pc:sldMk cId="2486767940" sldId="279"/>
            <ac:spMk id="2" creationId="{E7827408-BB20-4AFA-B0C8-C7EBF84D74A0}"/>
          </ac:spMkLst>
        </pc:spChg>
        <pc:spChg chg="mod">
          <ac:chgData name="Rogers, Chris L." userId="S::chris.rogers@ou.edu::7a77fef6-e1a0-4651-85f7-3f45b93f3063" providerId="AD" clId="Web-{FF83B96A-B813-4D05-9A1F-4AB88B9D7E91}" dt="2021-07-14T03:15:46.310" v="59" actId="20577"/>
          <ac:spMkLst>
            <pc:docMk/>
            <pc:sldMk cId="2486767940" sldId="279"/>
            <ac:spMk id="4" creationId="{00000000-0000-0000-0000-000000000000}"/>
          </ac:spMkLst>
        </pc:spChg>
      </pc:sldChg>
    </pc:docChg>
  </pc:docChgLst>
  <pc:docChgLst>
    <pc:chgData name="Chaussee, Meredith L." userId="S::meredith.l.chaussee@ou.edu::1443184a-278a-4403-8dfb-216d88761e6e" providerId="AD" clId="Web-{446030B5-07FB-46C1-9664-63E790ABE610}"/>
    <pc:docChg chg="modSld">
      <pc:chgData name="Chaussee, Meredith L." userId="S::meredith.l.chaussee@ou.edu::1443184a-278a-4403-8dfb-216d88761e6e" providerId="AD" clId="Web-{446030B5-07FB-46C1-9664-63E790ABE610}" dt="2021-07-16T00:48:42.715" v="6" actId="1076"/>
      <pc:docMkLst>
        <pc:docMk/>
      </pc:docMkLst>
      <pc:sldChg chg="modSp">
        <pc:chgData name="Chaussee, Meredith L." userId="S::meredith.l.chaussee@ou.edu::1443184a-278a-4403-8dfb-216d88761e6e" providerId="AD" clId="Web-{446030B5-07FB-46C1-9664-63E790ABE610}" dt="2021-07-16T00:48:42.715" v="6" actId="1076"/>
        <pc:sldMkLst>
          <pc:docMk/>
          <pc:sldMk cId="605356132" sldId="270"/>
        </pc:sldMkLst>
        <pc:spChg chg="mod">
          <ac:chgData name="Chaussee, Meredith L." userId="S::meredith.l.chaussee@ou.edu::1443184a-278a-4403-8dfb-216d88761e6e" providerId="AD" clId="Web-{446030B5-07FB-46C1-9664-63E790ABE610}" dt="2021-07-16T00:48:42.715" v="6" actId="1076"/>
          <ac:spMkLst>
            <pc:docMk/>
            <pc:sldMk cId="605356132" sldId="270"/>
            <ac:spMk id="2" creationId="{00000000-0000-0000-0000-000000000000}"/>
          </ac:spMkLst>
        </pc:spChg>
      </pc:sldChg>
    </pc:docChg>
  </pc:docChgLst>
  <pc:docChgLst>
    <pc:chgData name="Chaussee, Meredith L." userId="S::meredith.l.chaussee@ou.edu::1443184a-278a-4403-8dfb-216d88761e6e" providerId="AD" clId="Web-{D506F9A8-C8E7-4B22-BD23-94824716462E}"/>
    <pc:docChg chg="modSld">
      <pc:chgData name="Chaussee, Meredith L." userId="S::meredith.l.chaussee@ou.edu::1443184a-278a-4403-8dfb-216d88761e6e" providerId="AD" clId="Web-{D506F9A8-C8E7-4B22-BD23-94824716462E}" dt="2021-07-16T00:44:33.566" v="308" actId="20577"/>
      <pc:docMkLst>
        <pc:docMk/>
      </pc:docMkLst>
      <pc:sldChg chg="modSp">
        <pc:chgData name="Chaussee, Meredith L." userId="S::meredith.l.chaussee@ou.edu::1443184a-278a-4403-8dfb-216d88761e6e" providerId="AD" clId="Web-{D506F9A8-C8E7-4B22-BD23-94824716462E}" dt="2021-07-16T00:44:33.566" v="308" actId="20577"/>
        <pc:sldMkLst>
          <pc:docMk/>
          <pc:sldMk cId="1154681038" sldId="273"/>
        </pc:sldMkLst>
        <pc:spChg chg="mod">
          <ac:chgData name="Chaussee, Meredith L." userId="S::meredith.l.chaussee@ou.edu::1443184a-278a-4403-8dfb-216d88761e6e" providerId="AD" clId="Web-{D506F9A8-C8E7-4B22-BD23-94824716462E}" dt="2021-07-16T00:44:33.566" v="308" actId="20577"/>
          <ac:spMkLst>
            <pc:docMk/>
            <pc:sldMk cId="1154681038" sldId="273"/>
            <ac:spMk id="2" creationId="{6AA234CB-7DD0-49A9-8127-3C64005173BD}"/>
          </ac:spMkLst>
        </pc:spChg>
      </pc:sldChg>
      <pc:sldChg chg="modSp">
        <pc:chgData name="Chaussee, Meredith L." userId="S::meredith.l.chaussee@ou.edu::1443184a-278a-4403-8dfb-216d88761e6e" providerId="AD" clId="Web-{D506F9A8-C8E7-4B22-BD23-94824716462E}" dt="2021-07-16T00:39:34.032" v="93" actId="1076"/>
        <pc:sldMkLst>
          <pc:docMk/>
          <pc:sldMk cId="1302074012" sldId="274"/>
        </pc:sldMkLst>
        <pc:spChg chg="mod">
          <ac:chgData name="Chaussee, Meredith L." userId="S::meredith.l.chaussee@ou.edu::1443184a-278a-4403-8dfb-216d88761e6e" providerId="AD" clId="Web-{D506F9A8-C8E7-4B22-BD23-94824716462E}" dt="2021-07-16T00:39:34.032" v="93" actId="1076"/>
          <ac:spMkLst>
            <pc:docMk/>
            <pc:sldMk cId="1302074012" sldId="274"/>
            <ac:spMk id="2" creationId="{AE93260A-CBE2-41AE-8F88-A626BD4667E7}"/>
          </ac:spMkLst>
        </pc:spChg>
      </pc:sldChg>
    </pc:docChg>
  </pc:docChgLst>
  <pc:docChgLst>
    <pc:chgData name="Gonzales, Matt R." userId="S::gonzo@ou.edu::cd2df778-d6f0-4740-9f70-dd48273c605b" providerId="AD" clId="Web-{232D03BD-AA3A-48A2-A4BF-02D22985EBA5}"/>
    <pc:docChg chg="addSld delSld modSld">
      <pc:chgData name="Gonzales, Matt R." userId="S::gonzo@ou.edu::cd2df778-d6f0-4740-9f70-dd48273c605b" providerId="AD" clId="Web-{232D03BD-AA3A-48A2-A4BF-02D22985EBA5}" dt="2021-07-15T21:12:31.739" v="72" actId="20577"/>
      <pc:docMkLst>
        <pc:docMk/>
      </pc:docMkLst>
      <pc:sldChg chg="modSp">
        <pc:chgData name="Gonzales, Matt R." userId="S::gonzo@ou.edu::cd2df778-d6f0-4740-9f70-dd48273c605b" providerId="AD" clId="Web-{232D03BD-AA3A-48A2-A4BF-02D22985EBA5}" dt="2021-07-15T21:12:31.739" v="72" actId="20577"/>
        <pc:sldMkLst>
          <pc:docMk/>
          <pc:sldMk cId="2486767940" sldId="279"/>
        </pc:sldMkLst>
        <pc:spChg chg="mod">
          <ac:chgData name="Gonzales, Matt R." userId="S::gonzo@ou.edu::cd2df778-d6f0-4740-9f70-dd48273c605b" providerId="AD" clId="Web-{232D03BD-AA3A-48A2-A4BF-02D22985EBA5}" dt="2021-07-15T21:12:31.739" v="72" actId="20577"/>
          <ac:spMkLst>
            <pc:docMk/>
            <pc:sldMk cId="2486767940" sldId="279"/>
            <ac:spMk id="2" creationId="{E7827408-BB20-4AFA-B0C8-C7EBF84D74A0}"/>
          </ac:spMkLst>
        </pc:spChg>
      </pc:sldChg>
      <pc:sldChg chg="modSp new del">
        <pc:chgData name="Gonzales, Matt R." userId="S::gonzo@ou.edu::cd2df778-d6f0-4740-9f70-dd48273c605b" providerId="AD" clId="Web-{232D03BD-AA3A-48A2-A4BF-02D22985EBA5}" dt="2021-07-15T21:09:58.502" v="17"/>
        <pc:sldMkLst>
          <pc:docMk/>
          <pc:sldMk cId="3583246177" sldId="280"/>
        </pc:sldMkLst>
        <pc:spChg chg="mod">
          <ac:chgData name="Gonzales, Matt R." userId="S::gonzo@ou.edu::cd2df778-d6f0-4740-9f70-dd48273c605b" providerId="AD" clId="Web-{232D03BD-AA3A-48A2-A4BF-02D22985EBA5}" dt="2021-07-15T21:09:42.142" v="15" actId="20577"/>
          <ac:spMkLst>
            <pc:docMk/>
            <pc:sldMk cId="3583246177" sldId="280"/>
            <ac:spMk id="2" creationId="{6B8F93F7-BC6A-4DB1-9AC8-01D7771FB53A}"/>
          </ac:spMkLst>
        </pc:spChg>
      </pc:sldChg>
    </pc:docChg>
  </pc:docChgLst>
  <pc:docChgLst>
    <pc:chgData name="Gonzales, Matt R." userId="S::gonzo@ou.edu::cd2df778-d6f0-4740-9f70-dd48273c605b" providerId="AD" clId="Web-{B6C58466-E735-4F11-95AD-90928C52D5FD}"/>
    <pc:docChg chg="modSld">
      <pc:chgData name="Gonzales, Matt R." userId="S::gonzo@ou.edu::cd2df778-d6f0-4740-9f70-dd48273c605b" providerId="AD" clId="Web-{B6C58466-E735-4F11-95AD-90928C52D5FD}" dt="2021-07-15T23:07:26.251" v="54" actId="20577"/>
      <pc:docMkLst>
        <pc:docMk/>
      </pc:docMkLst>
      <pc:sldChg chg="modSp">
        <pc:chgData name="Gonzales, Matt R." userId="S::gonzo@ou.edu::cd2df778-d6f0-4740-9f70-dd48273c605b" providerId="AD" clId="Web-{B6C58466-E735-4F11-95AD-90928C52D5FD}" dt="2021-07-15T23:07:26.251" v="54" actId="20577"/>
        <pc:sldMkLst>
          <pc:docMk/>
          <pc:sldMk cId="2239950993" sldId="271"/>
        </pc:sldMkLst>
        <pc:spChg chg="mod">
          <ac:chgData name="Gonzales, Matt R." userId="S::gonzo@ou.edu::cd2df778-d6f0-4740-9f70-dd48273c605b" providerId="AD" clId="Web-{B6C58466-E735-4F11-95AD-90928C52D5FD}" dt="2021-07-15T23:07:26.251" v="54" actId="20577"/>
          <ac:spMkLst>
            <pc:docMk/>
            <pc:sldMk cId="2239950993" sldId="271"/>
            <ac:spMk id="3" creationId="{00000000-0000-0000-0000-000000000000}"/>
          </ac:spMkLst>
        </pc:spChg>
      </pc:sldChg>
    </pc:docChg>
  </pc:docChgLst>
  <pc:docChgLst>
    <pc:chgData name="Meredith Chaussee" userId="1443184a-278a-4403-8dfb-216d88761e6e" providerId="ADAL" clId="{7500B948-216D-5C4E-BD07-96A71810026E}"/>
    <pc:docChg chg="custSel modSld">
      <pc:chgData name="Meredith Chaussee" userId="1443184a-278a-4403-8dfb-216d88761e6e" providerId="ADAL" clId="{7500B948-216D-5C4E-BD07-96A71810026E}" dt="2021-07-15T22:43:19.370" v="13" actId="20577"/>
      <pc:docMkLst>
        <pc:docMk/>
      </pc:docMkLst>
      <pc:sldChg chg="modSp">
        <pc:chgData name="Meredith Chaussee" userId="1443184a-278a-4403-8dfb-216d88761e6e" providerId="ADAL" clId="{7500B948-216D-5C4E-BD07-96A71810026E}" dt="2021-07-15T02:04:44.173" v="4" actId="27636"/>
        <pc:sldMkLst>
          <pc:docMk/>
          <pc:sldMk cId="3160917922" sldId="275"/>
        </pc:sldMkLst>
        <pc:spChg chg="mod">
          <ac:chgData name="Meredith Chaussee" userId="1443184a-278a-4403-8dfb-216d88761e6e" providerId="ADAL" clId="{7500B948-216D-5C4E-BD07-96A71810026E}" dt="2021-07-15T02:04:44.173" v="4" actId="27636"/>
          <ac:spMkLst>
            <pc:docMk/>
            <pc:sldMk cId="3160917922" sldId="275"/>
            <ac:spMk id="2" creationId="{C05BD4A5-0314-43F2-A438-29B3D8F5769F}"/>
          </ac:spMkLst>
        </pc:spChg>
      </pc:sldChg>
      <pc:sldChg chg="modNotesTx">
        <pc:chgData name="Meredith Chaussee" userId="1443184a-278a-4403-8dfb-216d88761e6e" providerId="ADAL" clId="{7500B948-216D-5C4E-BD07-96A71810026E}" dt="2021-07-15T22:43:19.370" v="13" actId="20577"/>
        <pc:sldMkLst>
          <pc:docMk/>
          <pc:sldMk cId="2486767940" sldId="279"/>
        </pc:sldMkLst>
      </pc:sldChg>
    </pc:docChg>
  </pc:docChgLst>
  <pc:docChgLst>
    <pc:chgData name="Rogers, Chris L." userId="S::chris.rogers@ou.edu::7a77fef6-e1a0-4651-85f7-3f45b93f3063" providerId="AD" clId="Web-{71C5E95E-9FEC-4E84-B0AD-97878DC15372}"/>
    <pc:docChg chg="modSld">
      <pc:chgData name="Rogers, Chris L." userId="S::chris.rogers@ou.edu::7a77fef6-e1a0-4651-85f7-3f45b93f3063" providerId="AD" clId="Web-{71C5E95E-9FEC-4E84-B0AD-97878DC15372}" dt="2021-07-16T00:39:43.713" v="186" actId="20577"/>
      <pc:docMkLst>
        <pc:docMk/>
      </pc:docMkLst>
      <pc:sldChg chg="modSp">
        <pc:chgData name="Rogers, Chris L." userId="S::chris.rogers@ou.edu::7a77fef6-e1a0-4651-85f7-3f45b93f3063" providerId="AD" clId="Web-{71C5E95E-9FEC-4E84-B0AD-97878DC15372}" dt="2021-07-16T00:39:43.713" v="186" actId="20577"/>
        <pc:sldMkLst>
          <pc:docMk/>
          <pc:sldMk cId="1154681038" sldId="273"/>
        </pc:sldMkLst>
        <pc:spChg chg="mod">
          <ac:chgData name="Rogers, Chris L." userId="S::chris.rogers@ou.edu::7a77fef6-e1a0-4651-85f7-3f45b93f3063" providerId="AD" clId="Web-{71C5E95E-9FEC-4E84-B0AD-97878DC15372}" dt="2021-07-16T00:39:43.713" v="186" actId="20577"/>
          <ac:spMkLst>
            <pc:docMk/>
            <pc:sldMk cId="1154681038" sldId="273"/>
            <ac:spMk id="2" creationId="{6AA234CB-7DD0-49A9-8127-3C64005173BD}"/>
          </ac:spMkLst>
        </pc:spChg>
      </pc:sldChg>
    </pc:docChg>
  </pc:docChgLst>
  <pc:docChgLst>
    <pc:chgData name="Rogers, Chris L." userId="S::chris.rogers@ou.edu::7a77fef6-e1a0-4651-85f7-3f45b93f3063" providerId="AD" clId="Web-{034D5995-6CEF-4ABB-A341-FB3D1C47D5AD}"/>
    <pc:docChg chg="modSld">
      <pc:chgData name="Rogers, Chris L." userId="S::chris.rogers@ou.edu::7a77fef6-e1a0-4651-85f7-3f45b93f3063" providerId="AD" clId="Web-{034D5995-6CEF-4ABB-A341-FB3D1C47D5AD}" dt="2021-07-15T22:41:56.854" v="337" actId="20577"/>
      <pc:docMkLst>
        <pc:docMk/>
      </pc:docMkLst>
      <pc:sldChg chg="modSp">
        <pc:chgData name="Rogers, Chris L." userId="S::chris.rogers@ou.edu::7a77fef6-e1a0-4651-85f7-3f45b93f3063" providerId="AD" clId="Web-{034D5995-6CEF-4ABB-A341-FB3D1C47D5AD}" dt="2021-07-15T22:41:56.854" v="337" actId="20577"/>
        <pc:sldMkLst>
          <pc:docMk/>
          <pc:sldMk cId="497344859" sldId="278"/>
        </pc:sldMkLst>
        <pc:spChg chg="mod">
          <ac:chgData name="Rogers, Chris L." userId="S::chris.rogers@ou.edu::7a77fef6-e1a0-4651-85f7-3f45b93f3063" providerId="AD" clId="Web-{034D5995-6CEF-4ABB-A341-FB3D1C47D5AD}" dt="2021-07-15T22:41:56.854" v="337" actId="20577"/>
          <ac:spMkLst>
            <pc:docMk/>
            <pc:sldMk cId="497344859" sldId="278"/>
            <ac:spMk id="2" creationId="{7ABF8A3A-B645-4E3D-8310-244227FEF7FA}"/>
          </ac:spMkLst>
        </pc:spChg>
      </pc:sldChg>
    </pc:docChg>
  </pc:docChgLst>
  <pc:docChgLst>
    <pc:chgData name="Chaussee, Meredith L." userId="S::meredith.l.chaussee@ou.edu::1443184a-278a-4403-8dfb-216d88761e6e" providerId="AD" clId="Web-{2FBBB7A0-D0C9-4B8B-8DAB-EE986ED91514}"/>
    <pc:docChg chg="delSld modSld">
      <pc:chgData name="Chaussee, Meredith L." userId="S::meredith.l.chaussee@ou.edu::1443184a-278a-4403-8dfb-216d88761e6e" providerId="AD" clId="Web-{2FBBB7A0-D0C9-4B8B-8DAB-EE986ED91514}" dt="2021-07-15T23:35:59.656" v="1483" actId="20577"/>
      <pc:docMkLst>
        <pc:docMk/>
      </pc:docMkLst>
      <pc:sldChg chg="modSp">
        <pc:chgData name="Chaussee, Meredith L." userId="S::meredith.l.chaussee@ou.edu::1443184a-278a-4403-8dfb-216d88761e6e" providerId="AD" clId="Web-{2FBBB7A0-D0C9-4B8B-8DAB-EE986ED91514}" dt="2021-07-15T23:31:01.224" v="1304" actId="20577"/>
        <pc:sldMkLst>
          <pc:docMk/>
          <pc:sldMk cId="1302074012" sldId="274"/>
        </pc:sldMkLst>
        <pc:spChg chg="mod">
          <ac:chgData name="Chaussee, Meredith L." userId="S::meredith.l.chaussee@ou.edu::1443184a-278a-4403-8dfb-216d88761e6e" providerId="AD" clId="Web-{2FBBB7A0-D0C9-4B8B-8DAB-EE986ED91514}" dt="2021-07-15T23:31:01.224" v="1304" actId="20577"/>
          <ac:spMkLst>
            <pc:docMk/>
            <pc:sldMk cId="1302074012" sldId="274"/>
            <ac:spMk id="2" creationId="{AE93260A-CBE2-41AE-8F88-A626BD4667E7}"/>
          </ac:spMkLst>
        </pc:spChg>
        <pc:spChg chg="mod">
          <ac:chgData name="Chaussee, Meredith L." userId="S::meredith.l.chaussee@ou.edu::1443184a-278a-4403-8dfb-216d88761e6e" providerId="AD" clId="Web-{2FBBB7A0-D0C9-4B8B-8DAB-EE986ED91514}" dt="2021-07-15T23:25:02.147" v="1018" actId="20577"/>
          <ac:spMkLst>
            <pc:docMk/>
            <pc:sldMk cId="1302074012" sldId="274"/>
            <ac:spMk id="4" creationId="{00000000-0000-0000-0000-000000000000}"/>
          </ac:spMkLst>
        </pc:spChg>
      </pc:sldChg>
      <pc:sldChg chg="modSp del">
        <pc:chgData name="Chaussee, Meredith L." userId="S::meredith.l.chaussee@ou.edu::1443184a-278a-4403-8dfb-216d88761e6e" providerId="AD" clId="Web-{2FBBB7A0-D0C9-4B8B-8DAB-EE986ED91514}" dt="2021-07-15T22:57:30.763" v="41"/>
        <pc:sldMkLst>
          <pc:docMk/>
          <pc:sldMk cId="3668033603" sldId="276"/>
        </pc:sldMkLst>
        <pc:spChg chg="mod">
          <ac:chgData name="Chaussee, Meredith L." userId="S::meredith.l.chaussee@ou.edu::1443184a-278a-4403-8dfb-216d88761e6e" providerId="AD" clId="Web-{2FBBB7A0-D0C9-4B8B-8DAB-EE986ED91514}" dt="2021-07-15T22:57:27.762" v="40" actId="20577"/>
          <ac:spMkLst>
            <pc:docMk/>
            <pc:sldMk cId="3668033603" sldId="276"/>
            <ac:spMk id="2" creationId="{1DC14C53-9392-40AC-AA35-3FA830AC4EE1}"/>
          </ac:spMkLst>
        </pc:spChg>
      </pc:sldChg>
      <pc:sldChg chg="modSp">
        <pc:chgData name="Chaussee, Meredith L." userId="S::meredith.l.chaussee@ou.edu::1443184a-278a-4403-8dfb-216d88761e6e" providerId="AD" clId="Web-{2FBBB7A0-D0C9-4B8B-8DAB-EE986ED91514}" dt="2021-07-15T23:35:59.656" v="1483" actId="20577"/>
        <pc:sldMkLst>
          <pc:docMk/>
          <pc:sldMk cId="3051305305" sldId="277"/>
        </pc:sldMkLst>
        <pc:spChg chg="mod">
          <ac:chgData name="Chaussee, Meredith L." userId="S::meredith.l.chaussee@ou.edu::1443184a-278a-4403-8dfb-216d88761e6e" providerId="AD" clId="Web-{2FBBB7A0-D0C9-4B8B-8DAB-EE986ED91514}" dt="2021-07-15T23:35:59.656" v="1483" actId="20577"/>
          <ac:spMkLst>
            <pc:docMk/>
            <pc:sldMk cId="3051305305" sldId="277"/>
            <ac:spMk id="2" creationId="{20EFA8C8-6EB0-4A2B-948F-6B422083D317}"/>
          </ac:spMkLst>
        </pc:spChg>
        <pc:spChg chg="mod">
          <ac:chgData name="Chaussee, Meredith L." userId="S::meredith.l.chaussee@ou.edu::1443184a-278a-4403-8dfb-216d88761e6e" providerId="AD" clId="Web-{2FBBB7A0-D0C9-4B8B-8DAB-EE986ED91514}" dt="2021-07-15T23:29:50.237" v="1205" actId="20577"/>
          <ac:spMkLst>
            <pc:docMk/>
            <pc:sldMk cId="3051305305" sldId="277"/>
            <ac:spMk id="4" creationId="{00000000-0000-0000-0000-000000000000}"/>
          </ac:spMkLst>
        </pc:spChg>
      </pc:sldChg>
    </pc:docChg>
  </pc:docChgLst>
  <pc:docChgLst>
    <pc:chgData name="Gonzales, Matt R." userId="S::gonzo@ou.edu::cd2df778-d6f0-4740-9f70-dd48273c605b" providerId="AD" clId="Web-{D9801063-7B4A-40CC-B5F3-5EFEF087F137}"/>
    <pc:docChg chg="modSld">
      <pc:chgData name="Gonzales, Matt R." userId="S::gonzo@ou.edu::cd2df778-d6f0-4740-9f70-dd48273c605b" providerId="AD" clId="Web-{D9801063-7B4A-40CC-B5F3-5EFEF087F137}" dt="2021-07-15T21:58:20.149" v="793"/>
      <pc:docMkLst>
        <pc:docMk/>
      </pc:docMkLst>
      <pc:sldChg chg="modSp modNotes">
        <pc:chgData name="Gonzales, Matt R." userId="S::gonzo@ou.edu::cd2df778-d6f0-4740-9f70-dd48273c605b" providerId="AD" clId="Web-{D9801063-7B4A-40CC-B5F3-5EFEF087F137}" dt="2021-07-15T21:58:20.149" v="793"/>
        <pc:sldMkLst>
          <pc:docMk/>
          <pc:sldMk cId="2486767940" sldId="279"/>
        </pc:sldMkLst>
        <pc:spChg chg="mod">
          <ac:chgData name="Gonzales, Matt R." userId="S::gonzo@ou.edu::cd2df778-d6f0-4740-9f70-dd48273c605b" providerId="AD" clId="Web-{D9801063-7B4A-40CC-B5F3-5EFEF087F137}" dt="2021-07-15T21:35:36.166" v="413" actId="20577"/>
          <ac:spMkLst>
            <pc:docMk/>
            <pc:sldMk cId="2486767940" sldId="279"/>
            <ac:spMk id="2" creationId="{E7827408-BB20-4AFA-B0C8-C7EBF84D74A0}"/>
          </ac:spMkLst>
        </pc:spChg>
      </pc:sldChg>
    </pc:docChg>
  </pc:docChgLst>
  <pc:docChgLst>
    <pc:chgData name="Gonzales, Matt R." userId="S::gonzo@ou.edu::cd2df778-d6f0-4740-9f70-dd48273c605b" providerId="AD" clId="Web-{64A66309-CE56-411F-88DF-8528A514B86A}"/>
    <pc:docChg chg="modSld">
      <pc:chgData name="Gonzales, Matt R." userId="S::gonzo@ou.edu::cd2df778-d6f0-4740-9f70-dd48273c605b" providerId="AD" clId="Web-{64A66309-CE56-411F-88DF-8528A514B86A}" dt="2021-07-15T22:27:49.465" v="1011"/>
      <pc:docMkLst>
        <pc:docMk/>
      </pc:docMkLst>
      <pc:sldChg chg="modNotes">
        <pc:chgData name="Gonzales, Matt R." userId="S::gonzo@ou.edu::cd2df778-d6f0-4740-9f70-dd48273c605b" providerId="AD" clId="Web-{64A66309-CE56-411F-88DF-8528A514B86A}" dt="2021-07-15T22:27:49.465" v="1011"/>
        <pc:sldMkLst>
          <pc:docMk/>
          <pc:sldMk cId="2486767940" sldId="279"/>
        </pc:sldMkLst>
      </pc:sldChg>
    </pc:docChg>
  </pc:docChgLst>
  <pc:docChgLst>
    <pc:chgData name="Chaussee, Meredith L." userId="S::meredith.l.chaussee@ou.edu::1443184a-278a-4403-8dfb-216d88761e6e" providerId="AD" clId="Web-{C475BEAE-34E0-4264-8A86-42B1B962DF65}"/>
    <pc:docChg chg="modSld">
      <pc:chgData name="Chaussee, Meredith L." userId="S::meredith.l.chaussee@ou.edu::1443184a-278a-4403-8dfb-216d88761e6e" providerId="AD" clId="Web-{C475BEAE-34E0-4264-8A86-42B1B962DF65}" dt="2021-07-15T22:28:29.203" v="8" actId="20577"/>
      <pc:docMkLst>
        <pc:docMk/>
      </pc:docMkLst>
      <pc:sldChg chg="modSp">
        <pc:chgData name="Chaussee, Meredith L." userId="S::meredith.l.chaussee@ou.edu::1443184a-278a-4403-8dfb-216d88761e6e" providerId="AD" clId="Web-{C475BEAE-34E0-4264-8A86-42B1B962DF65}" dt="2021-07-15T22:28:29.203" v="8" actId="20577"/>
        <pc:sldMkLst>
          <pc:docMk/>
          <pc:sldMk cId="2990767272" sldId="272"/>
        </pc:sldMkLst>
        <pc:spChg chg="mod">
          <ac:chgData name="Chaussee, Meredith L." userId="S::meredith.l.chaussee@ou.edu::1443184a-278a-4403-8dfb-216d88761e6e" providerId="AD" clId="Web-{C475BEAE-34E0-4264-8A86-42B1B962DF65}" dt="2021-07-15T22:28:29.203" v="8" actId="20577"/>
          <ac:spMkLst>
            <pc:docMk/>
            <pc:sldMk cId="2990767272" sldId="272"/>
            <ac:spMk id="2" creationId="{C75AFAF8-95A5-45ED-BD78-4C3590DDB13D}"/>
          </ac:spMkLst>
        </pc:spChg>
      </pc:sldChg>
    </pc:docChg>
  </pc:docChgLst>
  <pc:docChgLst>
    <pc:chgData name="Gonzales, Matt R." userId="S::gonzo@ou.edu::cd2df778-d6f0-4740-9f70-dd48273c605b" providerId="AD" clId="Web-{9BD572BE-8698-4268-B8C2-4B990665C47E}"/>
    <pc:docChg chg="modSld">
      <pc:chgData name="Gonzales, Matt R." userId="S::gonzo@ou.edu::cd2df778-d6f0-4740-9f70-dd48273c605b" providerId="AD" clId="Web-{9BD572BE-8698-4268-B8C2-4B990665C47E}" dt="2021-07-16T00:43:41.767" v="31" actId="20577"/>
      <pc:docMkLst>
        <pc:docMk/>
      </pc:docMkLst>
      <pc:sldChg chg="modSp">
        <pc:chgData name="Gonzales, Matt R." userId="S::gonzo@ou.edu::cd2df778-d6f0-4740-9f70-dd48273c605b" providerId="AD" clId="Web-{9BD572BE-8698-4268-B8C2-4B990665C47E}" dt="2021-07-16T00:43:41.767" v="31" actId="20577"/>
        <pc:sldMkLst>
          <pc:docMk/>
          <pc:sldMk cId="2486767940" sldId="279"/>
        </pc:sldMkLst>
        <pc:spChg chg="mod">
          <ac:chgData name="Gonzales, Matt R." userId="S::gonzo@ou.edu::cd2df778-d6f0-4740-9f70-dd48273c605b" providerId="AD" clId="Web-{9BD572BE-8698-4268-B8C2-4B990665C47E}" dt="2021-07-16T00:43:41.767" v="31" actId="20577"/>
          <ac:spMkLst>
            <pc:docMk/>
            <pc:sldMk cId="2486767940" sldId="279"/>
            <ac:spMk id="2" creationId="{E7827408-BB20-4AFA-B0C8-C7EBF84D74A0}"/>
          </ac:spMkLst>
        </pc:spChg>
      </pc:sldChg>
    </pc:docChg>
  </pc:docChgLst>
  <pc:docChgLst>
    <pc:chgData name="Rogers, Chris L." userId="S::chris.rogers@ou.edu::7a77fef6-e1a0-4651-85f7-3f45b93f3063" providerId="AD" clId="Web-{E03F628C-3594-4C13-9E63-D337D8456C09}"/>
    <pc:docChg chg="modSld">
      <pc:chgData name="Rogers, Chris L." userId="S::chris.rogers@ou.edu::7a77fef6-e1a0-4651-85f7-3f45b93f3063" providerId="AD" clId="Web-{E03F628C-3594-4C13-9E63-D337D8456C09}" dt="2021-07-15T22:11:14.513" v="237" actId="20577"/>
      <pc:docMkLst>
        <pc:docMk/>
      </pc:docMkLst>
      <pc:sldChg chg="modSp modNotes">
        <pc:chgData name="Rogers, Chris L." userId="S::chris.rogers@ou.edu::7a77fef6-e1a0-4651-85f7-3f45b93f3063" providerId="AD" clId="Web-{E03F628C-3594-4C13-9E63-D337D8456C09}" dt="2021-07-15T22:11:14.513" v="237" actId="20577"/>
        <pc:sldMkLst>
          <pc:docMk/>
          <pc:sldMk cId="497344859" sldId="278"/>
        </pc:sldMkLst>
        <pc:spChg chg="mod">
          <ac:chgData name="Rogers, Chris L." userId="S::chris.rogers@ou.edu::7a77fef6-e1a0-4651-85f7-3f45b93f3063" providerId="AD" clId="Web-{E03F628C-3594-4C13-9E63-D337D8456C09}" dt="2021-07-15T22:11:14.513" v="237" actId="20577"/>
          <ac:spMkLst>
            <pc:docMk/>
            <pc:sldMk cId="497344859" sldId="278"/>
            <ac:spMk id="2" creationId="{7ABF8A3A-B645-4E3D-8310-244227FEF7FA}"/>
          </ac:spMkLst>
        </pc:spChg>
      </pc:sldChg>
    </pc:docChg>
  </pc:docChgLst>
  <pc:docChgLst>
    <pc:chgData name="Chaussee, Meredith L." userId="S::meredith.l.chaussee@ou.edu::1443184a-278a-4403-8dfb-216d88761e6e" providerId="AD" clId="Web-{C6C888B3-C5F5-4B4A-BBFA-B0C495BE13A2}"/>
    <pc:docChg chg="addSld modSld">
      <pc:chgData name="Chaussee, Meredith L." userId="S::meredith.l.chaussee@ou.edu::1443184a-278a-4403-8dfb-216d88761e6e" providerId="AD" clId="Web-{C6C888B3-C5F5-4B4A-BBFA-B0C495BE13A2}" dt="2021-07-14T02:48:28.869" v="13" actId="20577"/>
      <pc:docMkLst>
        <pc:docMk/>
      </pc:docMkLst>
      <pc:sldChg chg="modSp new">
        <pc:chgData name="Chaussee, Meredith L." userId="S::meredith.l.chaussee@ou.edu::1443184a-278a-4403-8dfb-216d88761e6e" providerId="AD" clId="Web-{C6C888B3-C5F5-4B4A-BBFA-B0C495BE13A2}" dt="2021-07-14T02:48:28.869" v="13" actId="20577"/>
        <pc:sldMkLst>
          <pc:docMk/>
          <pc:sldMk cId="3160917922" sldId="275"/>
        </pc:sldMkLst>
        <pc:spChg chg="mod">
          <ac:chgData name="Chaussee, Meredith L." userId="S::meredith.l.chaussee@ou.edu::1443184a-278a-4403-8dfb-216d88761e6e" providerId="AD" clId="Web-{C6C888B3-C5F5-4B4A-BBFA-B0C495BE13A2}" dt="2021-07-14T02:48:28.869" v="13" actId="20577"/>
          <ac:spMkLst>
            <pc:docMk/>
            <pc:sldMk cId="3160917922" sldId="275"/>
            <ac:spMk id="2" creationId="{C05BD4A5-0314-43F2-A438-29B3D8F5769F}"/>
          </ac:spMkLst>
        </pc:spChg>
      </pc:sldChg>
    </pc:docChg>
  </pc:docChgLst>
  <pc:docChgLst>
    <pc:chgData name="Compton, Maurice M." userId="S::mcompton@ou.edu::bfb8004b-8d3a-4bf0-8186-3bf8f2b4afc2" providerId="AD" clId="Web-{D7FE7AF3-0F47-4EC6-BA05-637A884B9878}"/>
    <pc:docChg chg="modSld">
      <pc:chgData name="Compton, Maurice M." userId="S::mcompton@ou.edu::bfb8004b-8d3a-4bf0-8186-3bf8f2b4afc2" providerId="AD" clId="Web-{D7FE7AF3-0F47-4EC6-BA05-637A884B9878}" dt="2021-07-15T19:24:29.812" v="390" actId="20577"/>
      <pc:docMkLst>
        <pc:docMk/>
      </pc:docMkLst>
      <pc:sldChg chg="modSp">
        <pc:chgData name="Compton, Maurice M." userId="S::mcompton@ou.edu::bfb8004b-8d3a-4bf0-8186-3bf8f2b4afc2" providerId="AD" clId="Web-{D7FE7AF3-0F47-4EC6-BA05-637A884B9878}" dt="2021-07-15T19:24:29.812" v="390" actId="20577"/>
        <pc:sldMkLst>
          <pc:docMk/>
          <pc:sldMk cId="2990767272" sldId="272"/>
        </pc:sldMkLst>
        <pc:spChg chg="mod">
          <ac:chgData name="Compton, Maurice M." userId="S::mcompton@ou.edu::bfb8004b-8d3a-4bf0-8186-3bf8f2b4afc2" providerId="AD" clId="Web-{D7FE7AF3-0F47-4EC6-BA05-637A884B9878}" dt="2021-07-15T19:24:29.812" v="390" actId="20577"/>
          <ac:spMkLst>
            <pc:docMk/>
            <pc:sldMk cId="2990767272" sldId="272"/>
            <ac:spMk id="2" creationId="{C75AFAF8-95A5-45ED-BD78-4C3590DDB13D}"/>
          </ac:spMkLst>
        </pc:spChg>
      </pc:sldChg>
      <pc:sldChg chg="modSp">
        <pc:chgData name="Compton, Maurice M." userId="S::mcompton@ou.edu::bfb8004b-8d3a-4bf0-8186-3bf8f2b4afc2" providerId="AD" clId="Web-{D7FE7AF3-0F47-4EC6-BA05-637A884B9878}" dt="2021-07-15T19:23:52.717" v="370" actId="20577"/>
        <pc:sldMkLst>
          <pc:docMk/>
          <pc:sldMk cId="1154681038" sldId="273"/>
        </pc:sldMkLst>
        <pc:spChg chg="mod">
          <ac:chgData name="Compton, Maurice M." userId="S::mcompton@ou.edu::bfb8004b-8d3a-4bf0-8186-3bf8f2b4afc2" providerId="AD" clId="Web-{D7FE7AF3-0F47-4EC6-BA05-637A884B9878}" dt="2021-07-15T19:23:52.717" v="370" actId="20577"/>
          <ac:spMkLst>
            <pc:docMk/>
            <pc:sldMk cId="1154681038" sldId="273"/>
            <ac:spMk id="2" creationId="{6AA234CB-7DD0-49A9-8127-3C64005173BD}"/>
          </ac:spMkLst>
        </pc:spChg>
      </pc:sldChg>
    </pc:docChg>
  </pc:docChgLst>
  <pc:docChgLst>
    <pc:chgData name="Chaussee, Meredith L." userId="S::meredith.l.chaussee@ou.edu::1443184a-278a-4403-8dfb-216d88761e6e" providerId="AD" clId="Web-{5225B544-8003-4F0A-9EC5-14A4D5A10EC9}"/>
    <pc:docChg chg="modSld">
      <pc:chgData name="Chaussee, Meredith L." userId="S::meredith.l.chaussee@ou.edu::1443184a-278a-4403-8dfb-216d88761e6e" providerId="AD" clId="Web-{5225B544-8003-4F0A-9EC5-14A4D5A10EC9}" dt="2021-07-14T03:16:41.922" v="9"/>
      <pc:docMkLst>
        <pc:docMk/>
      </pc:docMkLst>
      <pc:sldChg chg="modSp">
        <pc:chgData name="Chaussee, Meredith L." userId="S::meredith.l.chaussee@ou.edu::1443184a-278a-4403-8dfb-216d88761e6e" providerId="AD" clId="Web-{5225B544-8003-4F0A-9EC5-14A4D5A10EC9}" dt="2021-07-14T03:13:46.465" v="8" actId="20577"/>
        <pc:sldMkLst>
          <pc:docMk/>
          <pc:sldMk cId="3160917922" sldId="275"/>
        </pc:sldMkLst>
        <pc:spChg chg="mod">
          <ac:chgData name="Chaussee, Meredith L." userId="S::meredith.l.chaussee@ou.edu::1443184a-278a-4403-8dfb-216d88761e6e" providerId="AD" clId="Web-{5225B544-8003-4F0A-9EC5-14A4D5A10EC9}" dt="2021-07-14T03:13:46.465" v="8" actId="20577"/>
          <ac:spMkLst>
            <pc:docMk/>
            <pc:sldMk cId="3160917922" sldId="275"/>
            <ac:spMk id="2" creationId="{C05BD4A5-0314-43F2-A438-29B3D8F5769F}"/>
          </ac:spMkLst>
        </pc:spChg>
      </pc:sldChg>
      <pc:sldChg chg="addSp">
        <pc:chgData name="Chaussee, Meredith L." userId="S::meredith.l.chaussee@ou.edu::1443184a-278a-4403-8dfb-216d88761e6e" providerId="AD" clId="Web-{5225B544-8003-4F0A-9EC5-14A4D5A10EC9}" dt="2021-07-14T03:16:41.922" v="9"/>
        <pc:sldMkLst>
          <pc:docMk/>
          <pc:sldMk cId="497344859" sldId="278"/>
        </pc:sldMkLst>
        <pc:spChg chg="add">
          <ac:chgData name="Chaussee, Meredith L." userId="S::meredith.l.chaussee@ou.edu::1443184a-278a-4403-8dfb-216d88761e6e" providerId="AD" clId="Web-{5225B544-8003-4F0A-9EC5-14A4D5A10EC9}" dt="2021-07-14T03:16:41.922" v="9"/>
          <ac:spMkLst>
            <pc:docMk/>
            <pc:sldMk cId="497344859" sldId="278"/>
            <ac:spMk id="2" creationId="{7ABF8A3A-B645-4E3D-8310-244227FEF7FA}"/>
          </ac:spMkLst>
        </pc:spChg>
      </pc:sldChg>
    </pc:docChg>
  </pc:docChgLst>
  <pc:docChgLst>
    <pc:chgData name="Chaussee, Meredith L." userId="S::meredith.l.chaussee@ou.edu::1443184a-278a-4403-8dfb-216d88761e6e" providerId="AD" clId="Web-{B7C797A2-2ADB-43D1-A979-42FD0D4D4B5A}"/>
    <pc:docChg chg="modSld">
      <pc:chgData name="Chaussee, Meredith L." userId="S::meredith.l.chaussee@ou.edu::1443184a-278a-4403-8dfb-216d88761e6e" providerId="AD" clId="Web-{B7C797A2-2ADB-43D1-A979-42FD0D4D4B5A}" dt="2021-07-14T03:20:51.897" v="163" actId="1076"/>
      <pc:docMkLst>
        <pc:docMk/>
      </pc:docMkLst>
      <pc:sldChg chg="modSp">
        <pc:chgData name="Chaussee, Meredith L." userId="S::meredith.l.chaussee@ou.edu::1443184a-278a-4403-8dfb-216d88761e6e" providerId="AD" clId="Web-{B7C797A2-2ADB-43D1-A979-42FD0D4D4B5A}" dt="2021-07-14T03:20:51.897" v="163" actId="1076"/>
        <pc:sldMkLst>
          <pc:docMk/>
          <pc:sldMk cId="605356132" sldId="270"/>
        </pc:sldMkLst>
        <pc:spChg chg="mod">
          <ac:chgData name="Chaussee, Meredith L." userId="S::meredith.l.chaussee@ou.edu::1443184a-278a-4403-8dfb-216d88761e6e" providerId="AD" clId="Web-{B7C797A2-2ADB-43D1-A979-42FD0D4D4B5A}" dt="2021-07-14T03:20:51.897" v="163" actId="1076"/>
          <ac:spMkLst>
            <pc:docMk/>
            <pc:sldMk cId="605356132" sldId="270"/>
            <ac:spMk id="2" creationId="{00000000-0000-0000-0000-000000000000}"/>
          </ac:spMkLst>
        </pc:spChg>
      </pc:sldChg>
    </pc:docChg>
  </pc:docChgLst>
  <pc:docChgLst>
    <pc:chgData name="Rogers, Chris L." userId="S::chris.rogers@ou.edu::7a77fef6-e1a0-4651-85f7-3f45b93f3063" providerId="AD" clId="Web-{465B706F-A14D-48B3-A0FD-54DB493F66D4}"/>
    <pc:docChg chg="addSld delSld modSld sldOrd">
      <pc:chgData name="Rogers, Chris L." userId="S::chris.rogers@ou.edu::7a77fef6-e1a0-4651-85f7-3f45b93f3063" providerId="AD" clId="Web-{465B706F-A14D-48B3-A0FD-54DB493F66D4}" dt="2021-07-15T23:58:00.614" v="998"/>
      <pc:docMkLst>
        <pc:docMk/>
      </pc:docMkLst>
      <pc:sldChg chg="addSp delSp modSp modNotes">
        <pc:chgData name="Rogers, Chris L." userId="S::chris.rogers@ou.edu::7a77fef6-e1a0-4651-85f7-3f45b93f3063" providerId="AD" clId="Web-{465B706F-A14D-48B3-A0FD-54DB493F66D4}" dt="2021-07-15T23:52:05.466" v="985" actId="1076"/>
        <pc:sldMkLst>
          <pc:docMk/>
          <pc:sldMk cId="2239950993" sldId="271"/>
        </pc:sldMkLst>
        <pc:spChg chg="del mod">
          <ac:chgData name="Rogers, Chris L." userId="S::chris.rogers@ou.edu::7a77fef6-e1a0-4651-85f7-3f45b93f3063" providerId="AD" clId="Web-{465B706F-A14D-48B3-A0FD-54DB493F66D4}" dt="2021-07-15T23:51:49.559" v="983"/>
          <ac:spMkLst>
            <pc:docMk/>
            <pc:sldMk cId="2239950993" sldId="271"/>
            <ac:spMk id="2" creationId="{D947F17C-9AC3-4E02-B2F6-FDE613A26AD6}"/>
          </ac:spMkLst>
        </pc:spChg>
        <pc:spChg chg="mod">
          <ac:chgData name="Rogers, Chris L." userId="S::chris.rogers@ou.edu::7a77fef6-e1a0-4651-85f7-3f45b93f3063" providerId="AD" clId="Web-{465B706F-A14D-48B3-A0FD-54DB493F66D4}" dt="2021-07-15T23:52:05.435" v="984" actId="1076"/>
          <ac:spMkLst>
            <pc:docMk/>
            <pc:sldMk cId="2239950993" sldId="271"/>
            <ac:spMk id="3" creationId="{00000000-0000-0000-0000-000000000000}"/>
          </ac:spMkLst>
        </pc:spChg>
        <pc:spChg chg="add mod">
          <ac:chgData name="Rogers, Chris L." userId="S::chris.rogers@ou.edu::7a77fef6-e1a0-4651-85f7-3f45b93f3063" providerId="AD" clId="Web-{465B706F-A14D-48B3-A0FD-54DB493F66D4}" dt="2021-07-15T23:52:05.466" v="985" actId="1076"/>
          <ac:spMkLst>
            <pc:docMk/>
            <pc:sldMk cId="2239950993" sldId="271"/>
            <ac:spMk id="4" creationId="{97D6858F-2F99-4464-B317-8751B3EA0431}"/>
          </ac:spMkLst>
        </pc:spChg>
      </pc:sldChg>
      <pc:sldChg chg="del">
        <pc:chgData name="Rogers, Chris L." userId="S::chris.rogers@ou.edu::7a77fef6-e1a0-4651-85f7-3f45b93f3063" providerId="AD" clId="Web-{465B706F-A14D-48B3-A0FD-54DB493F66D4}" dt="2021-07-15T23:47:48.355" v="934"/>
        <pc:sldMkLst>
          <pc:docMk/>
          <pc:sldMk cId="3160917922" sldId="275"/>
        </pc:sldMkLst>
      </pc:sldChg>
      <pc:sldChg chg="ord">
        <pc:chgData name="Rogers, Chris L." userId="S::chris.rogers@ou.edu::7a77fef6-e1a0-4651-85f7-3f45b93f3063" providerId="AD" clId="Web-{465B706F-A14D-48B3-A0FD-54DB493F66D4}" dt="2021-07-15T23:57:12.955" v="995"/>
        <pc:sldMkLst>
          <pc:docMk/>
          <pc:sldMk cId="2486767940" sldId="279"/>
        </pc:sldMkLst>
      </pc:sldChg>
      <pc:sldChg chg="addSp delSp modSp add ord replId">
        <pc:chgData name="Rogers, Chris L." userId="S::chris.rogers@ou.edu::7a77fef6-e1a0-4651-85f7-3f45b93f3063" providerId="AD" clId="Web-{465B706F-A14D-48B3-A0FD-54DB493F66D4}" dt="2021-07-15T23:53:02.861" v="989"/>
        <pc:sldMkLst>
          <pc:docMk/>
          <pc:sldMk cId="2129206562" sldId="280"/>
        </pc:sldMkLst>
        <pc:spChg chg="mod">
          <ac:chgData name="Rogers, Chris L." userId="S::chris.rogers@ou.edu::7a77fef6-e1a0-4651-85f7-3f45b93f3063" providerId="AD" clId="Web-{465B706F-A14D-48B3-A0FD-54DB493F66D4}" dt="2021-07-15T23:53:02.861" v="989"/>
          <ac:spMkLst>
            <pc:docMk/>
            <pc:sldMk cId="2129206562" sldId="280"/>
            <ac:spMk id="2" creationId="{D947F17C-9AC3-4E02-B2F6-FDE613A26AD6}"/>
          </ac:spMkLst>
        </pc:spChg>
        <pc:spChg chg="del">
          <ac:chgData name="Rogers, Chris L." userId="S::chris.rogers@ou.edu::7a77fef6-e1a0-4651-85f7-3f45b93f3063" providerId="AD" clId="Web-{465B706F-A14D-48B3-A0FD-54DB493F66D4}" dt="2021-07-15T23:51:07.666" v="971"/>
          <ac:spMkLst>
            <pc:docMk/>
            <pc:sldMk cId="2129206562" sldId="280"/>
            <ac:spMk id="3" creationId="{00000000-0000-0000-0000-000000000000}"/>
          </ac:spMkLst>
        </pc:spChg>
        <pc:spChg chg="del">
          <ac:chgData name="Rogers, Chris L." userId="S::chris.rogers@ou.edu::7a77fef6-e1a0-4651-85f7-3f45b93f3063" providerId="AD" clId="Web-{465B706F-A14D-48B3-A0FD-54DB493F66D4}" dt="2021-07-15T23:51:20.963" v="974"/>
          <ac:spMkLst>
            <pc:docMk/>
            <pc:sldMk cId="2129206562" sldId="280"/>
            <ac:spMk id="4" creationId="{97D6858F-2F99-4464-B317-8751B3EA0431}"/>
          </ac:spMkLst>
        </pc:spChg>
        <pc:spChg chg="mod">
          <ac:chgData name="Rogers, Chris L." userId="S::chris.rogers@ou.edu::7a77fef6-e1a0-4651-85f7-3f45b93f3063" providerId="AD" clId="Web-{465B706F-A14D-48B3-A0FD-54DB493F66D4}" dt="2021-07-15T23:51:04.134" v="970" actId="20577"/>
          <ac:spMkLst>
            <pc:docMk/>
            <pc:sldMk cId="2129206562" sldId="280"/>
            <ac:spMk id="5" creationId="{00000000-0000-0000-0000-000000000000}"/>
          </ac:spMkLst>
        </pc:spChg>
        <pc:spChg chg="add del mod">
          <ac:chgData name="Rogers, Chris L." userId="S::chris.rogers@ou.edu::7a77fef6-e1a0-4651-85f7-3f45b93f3063" providerId="AD" clId="Web-{465B706F-A14D-48B3-A0FD-54DB493F66D4}" dt="2021-07-15T23:51:17.870" v="973"/>
          <ac:spMkLst>
            <pc:docMk/>
            <pc:sldMk cId="2129206562" sldId="280"/>
            <ac:spMk id="7" creationId="{82DF8A50-8814-450C-B2F4-672B569D2D6C}"/>
          </ac:spMkLst>
        </pc:spChg>
      </pc:sldChg>
      <pc:sldChg chg="add ord replId modNotes">
        <pc:chgData name="Rogers, Chris L." userId="S::chris.rogers@ou.edu::7a77fef6-e1a0-4651-85f7-3f45b93f3063" providerId="AD" clId="Web-{465B706F-A14D-48B3-A0FD-54DB493F66D4}" dt="2021-07-15T23:58:00.614" v="998"/>
        <pc:sldMkLst>
          <pc:docMk/>
          <pc:sldMk cId="993391805" sldId="281"/>
        </pc:sldMkLst>
      </pc:sldChg>
    </pc:docChg>
  </pc:docChgLst>
  <pc:docChgLst>
    <pc:chgData name="Gonzales, Matt R." userId="S::gonzo@ou.edu::cd2df778-d6f0-4740-9f70-dd48273c605b" providerId="AD" clId="Web-{CC38C25D-AC9B-494A-8E27-6A494D1446F2}"/>
    <pc:docChg chg="modSld">
      <pc:chgData name="Gonzales, Matt R." userId="S::gonzo@ou.edu::cd2df778-d6f0-4740-9f70-dd48273c605b" providerId="AD" clId="Web-{CC38C25D-AC9B-494A-8E27-6A494D1446F2}" dt="2021-07-15T00:12:51.572" v="4" actId="20577"/>
      <pc:docMkLst>
        <pc:docMk/>
      </pc:docMkLst>
      <pc:sldChg chg="modSp">
        <pc:chgData name="Gonzales, Matt R." userId="S::gonzo@ou.edu::cd2df778-d6f0-4740-9f70-dd48273c605b" providerId="AD" clId="Web-{CC38C25D-AC9B-494A-8E27-6A494D1446F2}" dt="2021-07-15T00:12:51.572" v="4" actId="20577"/>
        <pc:sldMkLst>
          <pc:docMk/>
          <pc:sldMk cId="605356132" sldId="270"/>
        </pc:sldMkLst>
        <pc:spChg chg="mod">
          <ac:chgData name="Gonzales, Matt R." userId="S::gonzo@ou.edu::cd2df778-d6f0-4740-9f70-dd48273c605b" providerId="AD" clId="Web-{CC38C25D-AC9B-494A-8E27-6A494D1446F2}" dt="2021-07-15T00:12:51.572" v="4" actId="20577"/>
          <ac:spMkLst>
            <pc:docMk/>
            <pc:sldMk cId="605356132" sldId="270"/>
            <ac:spMk id="2" creationId="{00000000-0000-0000-0000-000000000000}"/>
          </ac:spMkLst>
        </pc:spChg>
      </pc:sldChg>
    </pc:docChg>
  </pc:docChgLst>
  <pc:docChgLst>
    <pc:chgData name="Chaussee, Meredith L." userId="S::meredith.l.chaussee@ou.edu::1443184a-278a-4403-8dfb-216d88761e6e" providerId="AD" clId="Web-{4ADC016F-37B9-413E-BF34-B2F89BC39E01}"/>
    <pc:docChg chg="modSld">
      <pc:chgData name="Chaussee, Meredith L." userId="S::meredith.l.chaussee@ou.edu::1443184a-278a-4403-8dfb-216d88761e6e" providerId="AD" clId="Web-{4ADC016F-37B9-413E-BF34-B2F89BC39E01}" dt="2021-07-15T22:40:52.139" v="3" actId="20577"/>
      <pc:docMkLst>
        <pc:docMk/>
      </pc:docMkLst>
      <pc:sldChg chg="modSp">
        <pc:chgData name="Chaussee, Meredith L." userId="S::meredith.l.chaussee@ou.edu::1443184a-278a-4403-8dfb-216d88761e6e" providerId="AD" clId="Web-{4ADC016F-37B9-413E-BF34-B2F89BC39E01}" dt="2021-07-15T22:40:52.139" v="3" actId="20577"/>
        <pc:sldMkLst>
          <pc:docMk/>
          <pc:sldMk cId="1154681038" sldId="273"/>
        </pc:sldMkLst>
        <pc:spChg chg="mod">
          <ac:chgData name="Chaussee, Meredith L." userId="S::meredith.l.chaussee@ou.edu::1443184a-278a-4403-8dfb-216d88761e6e" providerId="AD" clId="Web-{4ADC016F-37B9-413E-BF34-B2F89BC39E01}" dt="2021-07-15T22:40:52.139" v="3" actId="20577"/>
          <ac:spMkLst>
            <pc:docMk/>
            <pc:sldMk cId="1154681038" sldId="273"/>
            <ac:spMk id="2" creationId="{6AA234CB-7DD0-49A9-8127-3C64005173BD}"/>
          </ac:spMkLst>
        </pc:spChg>
      </pc:sldChg>
    </pc:docChg>
  </pc:docChgLst>
  <pc:docChgLst>
    <pc:chgData name="Chaussee, Meredith L." userId="S::meredith.l.chaussee@ou.edu::1443184a-278a-4403-8dfb-216d88761e6e" providerId="AD" clId="Web-{8B6942BC-538F-4245-A382-93FF72477C17}"/>
    <pc:docChg chg="modSld">
      <pc:chgData name="Chaussee, Meredith L." userId="S::meredith.l.chaussee@ou.edu::1443184a-278a-4403-8dfb-216d88761e6e" providerId="AD" clId="Web-{8B6942BC-538F-4245-A382-93FF72477C17}" dt="2021-07-14T03:04:18.262" v="72" actId="20577"/>
      <pc:docMkLst>
        <pc:docMk/>
      </pc:docMkLst>
      <pc:sldChg chg="modSp">
        <pc:chgData name="Chaussee, Meredith L." userId="S::meredith.l.chaussee@ou.edu::1443184a-278a-4403-8dfb-216d88761e6e" providerId="AD" clId="Web-{8B6942BC-538F-4245-A382-93FF72477C17}" dt="2021-07-14T03:04:18.262" v="72" actId="20577"/>
        <pc:sldMkLst>
          <pc:docMk/>
          <pc:sldMk cId="3160917922" sldId="275"/>
        </pc:sldMkLst>
        <pc:spChg chg="mod">
          <ac:chgData name="Chaussee, Meredith L." userId="S::meredith.l.chaussee@ou.edu::1443184a-278a-4403-8dfb-216d88761e6e" providerId="AD" clId="Web-{8B6942BC-538F-4245-A382-93FF72477C17}" dt="2021-07-14T03:04:18.262" v="72" actId="20577"/>
          <ac:spMkLst>
            <pc:docMk/>
            <pc:sldMk cId="3160917922" sldId="275"/>
            <ac:spMk id="2" creationId="{C05BD4A5-0314-43F2-A438-29B3D8F5769F}"/>
          </ac:spMkLst>
        </pc:spChg>
        <pc:spChg chg="mod">
          <ac:chgData name="Chaussee, Meredith L." userId="S::meredith.l.chaussee@ou.edu::1443184a-278a-4403-8dfb-216d88761e6e" providerId="AD" clId="Web-{8B6942BC-538F-4245-A382-93FF72477C17}" dt="2021-07-14T02:50:00.835" v="8" actId="20577"/>
          <ac:spMkLst>
            <pc:docMk/>
            <pc:sldMk cId="3160917922" sldId="275"/>
            <ac:spMk id="3" creationId="{B674AE91-3577-41F0-950A-E9605B827D6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1AC66CB4-0733-594E-B86C-5124D529E98A}" type="datetime1">
              <a:rPr lang="en-US" smtClean="0"/>
              <a:t>7/15/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CFAE970D-78E4-E24B-8957-EDD311703C63}" type="slidenum">
              <a:rPr lang="en-US" smtClean="0"/>
              <a:t>‹#›</a:t>
            </a:fld>
            <a:endParaRPr lang="en-US"/>
          </a:p>
        </p:txBody>
      </p:sp>
    </p:spTree>
    <p:extLst>
      <p:ext uri="{BB962C8B-B14F-4D97-AF65-F5344CB8AC3E}">
        <p14:creationId xmlns:p14="http://schemas.microsoft.com/office/powerpoint/2010/main" val="23628555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233D63FF-CD3F-D24B-9359-7613E00AA1E3}" type="datetime1">
              <a:rPr lang="en-US" smtClean="0"/>
              <a:t>7/15/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CCE040E-F31C-9B46-A969-1690AB9E6F22}" type="slidenum">
              <a:rPr lang="en-US" smtClean="0"/>
              <a:t>‹#›</a:t>
            </a:fld>
            <a:endParaRPr lang="en-US"/>
          </a:p>
        </p:txBody>
      </p:sp>
    </p:spTree>
    <p:extLst>
      <p:ext uri="{BB962C8B-B14F-4D97-AF65-F5344CB8AC3E}">
        <p14:creationId xmlns:p14="http://schemas.microsoft.com/office/powerpoint/2010/main" val="276069856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Question</a:t>
            </a:r>
            <a:endParaRPr lang="en-US"/>
          </a:p>
          <a:p>
            <a:r>
              <a:rPr lang="en-US" b="1"/>
              <a:t> </a:t>
            </a:r>
            <a:endParaRPr lang="en-US"/>
          </a:p>
          <a:p>
            <a:r>
              <a:rPr lang="en-US"/>
              <a:t>Will our continued investment and growth in our air cargo services assist us in diversifying and increasing our revenue streams, maximizing our fleet utilizations “no unused aircraft”, and/or allow us to strategically add cargo capacity as a short- or long-term offering without detriment to our passenger services?</a:t>
            </a:r>
            <a:endParaRPr lang="en-US">
              <a:cs typeface="Calibri"/>
            </a:endParaRPr>
          </a:p>
          <a:p>
            <a:endParaRPr lang="en-US">
              <a:cs typeface="Calibri"/>
            </a:endParaRPr>
          </a:p>
          <a:p>
            <a:endParaRPr lang="en-US">
              <a:cs typeface="Calibri"/>
            </a:endParaRPr>
          </a:p>
          <a:p>
            <a:r>
              <a:rPr lang="en-US" b="1">
                <a:cs typeface="Calibri"/>
              </a:rPr>
              <a:t>Adam's Write-Up</a:t>
            </a:r>
            <a:br>
              <a:rPr lang="en-US" b="1">
                <a:cs typeface="+mn-lt"/>
              </a:rPr>
            </a:br>
            <a:br>
              <a:rPr lang="en-US">
                <a:cs typeface="+mn-lt"/>
              </a:rPr>
            </a:br>
            <a:r>
              <a:rPr lang="en-US"/>
              <a:t>Total revenue for airlines has fallen by 38% with domestic passenger carriers burning $95M of cash each day.  Once summer travel is complete within the next 6 weeks, the IATA expects total passenger revenue decline of 61% by year-on-year comparison.  This illustration of the devastating effects of COVID and projections do not include potential waves of variants furthering lowering economic forecasts into FY22 and beyond.  </a:t>
            </a:r>
            <a:endParaRPr lang="en-US">
              <a:cs typeface="Calibri"/>
            </a:endParaRPr>
          </a:p>
          <a:p>
            <a:endParaRPr lang="en-US"/>
          </a:p>
          <a:p>
            <a:r>
              <a:rPr lang="en-US"/>
              <a:t>However, cargo traffic is strongly outperforming passenger traffic with just an 8% decline in revenue.  Some international carriers, such as China airlines, have shown tremendous growth in cargo revenue, with this example being up 153% in May.  Though these numbers cannot necessarily be extrapolated to all airlines, it does demonstrate the airline cargo industry's ability to bolster passenger airline revenue streams in the middle of a global economic and health crisis.  Though the airline industry will be unable to avoid record losses over the past 24 months and a bleak outlook into 2023, our research team will perform an in-depth market analysis of what US passenger airlines are doing to diversify revenue streams, maximize fleet utilization, and add cargo capacity as a short and/or long term.</a:t>
            </a:r>
          </a:p>
          <a:p>
            <a:endParaRPr lang="en-US"/>
          </a:p>
          <a:p>
            <a:r>
              <a:rPr lang="en-US"/>
              <a:t>At its lowest point in May 2020, domestic airline passenger travel was down 96%.  Despite pent up demand, encouraging summer travel numbers, and a resurgence of passenger of domestic travel in Q2, the road to recovery will be long and unknown for the airline industry.  Much of this is attributed to business and international travel that make up over 50% of airline revenue with numbers still hovering around 30-40% of decline.  Most industry associations estimate a possible return to normal pre-pandemic levels by 2025 with the most optimistic by Q1 2023.</a:t>
            </a:r>
            <a:endParaRPr lang="en-US">
              <a:cs typeface="Calibri"/>
            </a:endParaRPr>
          </a:p>
          <a:p>
            <a:endParaRPr lang="en-US"/>
          </a:p>
          <a:p>
            <a:r>
              <a:rPr lang="en-US"/>
              <a:t>At SWA, we take great pride in being the #1 domestic airline.  Recently, we were voted the #1 domestic airline for the 11th year in a row by the </a:t>
            </a:r>
            <a:r>
              <a:rPr lang="en-US" err="1"/>
              <a:t>Airforwarders</a:t>
            </a:r>
            <a:r>
              <a:rPr lang="en-US"/>
              <a:t> Association.  What holds true for passengers on our commercial lines, is the same for products and goods that we ship in our air cargo service…outstanding customer service is our priority.  Over the past decade SWA has launched innovative cargo initiatives to include plane-side RFID for tracking shipments and optical scanning.  SWA was the first in the industry to implement K-9 screening, eliminating the expensive and tedious process to de-palletize shipments.  SWA also has a perishable goods shipping capability with no rivals with a trucking service in Florida and augments air cargo from South America during high volume flower purchasing and growing seasons.  </a:t>
            </a:r>
          </a:p>
          <a:p>
            <a:endParaRPr lang="en-US"/>
          </a:p>
          <a:p>
            <a:r>
              <a:rPr lang="en-US"/>
              <a:t>In April 2019, SWA launched Fresh First with emphasis on seafood, herbs, and even tropical fish for pet stores.  Premium products are given priority boarding on oversold/overbooked flights and a 24-hour guarantee to destination.  Despite on-going challenges with backlogged orders of additional Boeing aircraft, inflationary fuel pricing, and difficult choices in network expansion plans, SWA sees tremendous opportunity to meet the current and foreseeable supply chain and logistics' challenges in a post-pandemic domestic economy.</a:t>
            </a:r>
          </a:p>
          <a:p>
            <a:endParaRPr lang="en-US"/>
          </a:p>
          <a:p>
            <a:r>
              <a:rPr lang="en-US"/>
              <a:t>The market research will be aimed at developing a strategy for the growing SWA air cargo service.  The focus will be on expanding our innovative customer offerings for air cargo, conversion of passenger-configured aircraft to full cargo and freight service while maximizing existing routing for revenue generation.  The goal is to maintain the #1 domestic airline company in the US without having to raise ticket prices.</a:t>
            </a:r>
          </a:p>
          <a:p>
            <a:endParaRPr lang="en-US"/>
          </a:p>
          <a:p>
            <a:endParaRPr lang="en-US">
              <a:cs typeface="+mn-lt"/>
            </a:endParaRPr>
          </a:p>
        </p:txBody>
      </p:sp>
      <p:sp>
        <p:nvSpPr>
          <p:cNvPr id="4" name="Slide Number Placeholder 3"/>
          <p:cNvSpPr>
            <a:spLocks noGrp="1"/>
          </p:cNvSpPr>
          <p:nvPr>
            <p:ph type="sldNum" sz="quarter" idx="5"/>
          </p:nvPr>
        </p:nvSpPr>
        <p:spPr/>
        <p:txBody>
          <a:bodyPr/>
          <a:lstStyle/>
          <a:p>
            <a:fld id="{3CCE040E-F31C-9B46-A969-1690AB9E6F22}" type="slidenum">
              <a:rPr lang="en-US" smtClean="0"/>
              <a:t>2</a:t>
            </a:fld>
            <a:endParaRPr lang="en-US"/>
          </a:p>
        </p:txBody>
      </p:sp>
    </p:spTree>
    <p:extLst>
      <p:ext uri="{BB962C8B-B14F-4D97-AF65-F5344CB8AC3E}">
        <p14:creationId xmlns:p14="http://schemas.microsoft.com/office/powerpoint/2010/main" val="767657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Question</a:t>
            </a:r>
            <a:endParaRPr lang="en-US"/>
          </a:p>
          <a:p>
            <a:r>
              <a:rPr lang="en-US" b="1"/>
              <a:t> </a:t>
            </a:r>
            <a:endParaRPr lang="en-US"/>
          </a:p>
          <a:p>
            <a:r>
              <a:rPr lang="en-US"/>
              <a:t>Will our continued investment and growth in our air cargo services assist us in diversifying and increasing our revenue streams, maximizing our fleet utilizations “no unused aircraft”, and/or allow us to strategically add cargo capacity as a short- or long-term offering without detriment to our passenger services?</a:t>
            </a:r>
            <a:endParaRPr lang="en-US">
              <a:cs typeface="Calibri"/>
            </a:endParaRPr>
          </a:p>
          <a:p>
            <a:endParaRPr lang="en-US">
              <a:cs typeface="Calibri"/>
            </a:endParaRPr>
          </a:p>
          <a:p>
            <a:endParaRPr lang="en-US">
              <a:cs typeface="Calibri"/>
            </a:endParaRPr>
          </a:p>
          <a:p>
            <a:r>
              <a:rPr lang="en-US" b="1">
                <a:cs typeface="Calibri"/>
              </a:rPr>
              <a:t>Adam's Write-Up</a:t>
            </a:r>
            <a:br>
              <a:rPr lang="en-US" b="1">
                <a:cs typeface="+mn-lt"/>
              </a:rPr>
            </a:br>
            <a:br>
              <a:rPr lang="en-US">
                <a:cs typeface="+mn-lt"/>
              </a:rPr>
            </a:br>
            <a:r>
              <a:rPr lang="en-US"/>
              <a:t>Total revenue for airlines has fallen by 38% with domestic passenger carriers burning $95M of cash each day.  Once summer travel is complete within the next 6 weeks, the IATA expects total passenger revenue decline of 61% by year-on-year comparison.  This illustration of the devastating effects of COVID and projections do not include potential waves of variants furthering lowering economic forecasts into FY22 and beyond.  </a:t>
            </a:r>
            <a:endParaRPr lang="en-US">
              <a:cs typeface="Calibri"/>
            </a:endParaRPr>
          </a:p>
          <a:p>
            <a:endParaRPr lang="en-US"/>
          </a:p>
          <a:p>
            <a:r>
              <a:rPr lang="en-US"/>
              <a:t>However, cargo traffic is strongly outperforming passenger traffic with just an 8% decline in revenue.  Some international carriers, such as China airlines, have shown tremendous growth in cargo revenue, with this example being up 153% in May.  Though these numbers cannot necessarily be extrapolated to all airlines, it does demonstrate the airline cargo industry's ability to bolster passenger airline revenue streams in the middle of a global economic and health crisis.  Though the airline industry will be unable to avoid record losses over the past 24 months and a bleak outlook into 2023, our research team will perform an in-depth market analysis of what US passenger airlines are doing to diversify revenue streams, maximize fleet utilization, and add cargo capacity as a short and/or long term.</a:t>
            </a:r>
          </a:p>
          <a:p>
            <a:endParaRPr lang="en-US"/>
          </a:p>
          <a:p>
            <a:r>
              <a:rPr lang="en-US"/>
              <a:t>At its lowest point in May 2020, domestic airline passenger travel was down 96%.  Despite pent up demand, encouraging summer travel numbers, and a resurgence of passenger of domestic travel in Q2, the road to recovery will be long and unknown for the airline industry.  Much of this is attributed to business and international travel that make up over 50% of airline revenue with numbers still hovering around 30-40% of decline.  Most industry associations estimate a possible return to normal pre-pandemic levels by 2025 with the most optimistic by Q1 2023.</a:t>
            </a:r>
            <a:endParaRPr lang="en-US">
              <a:cs typeface="Calibri"/>
            </a:endParaRPr>
          </a:p>
          <a:p>
            <a:endParaRPr lang="en-US"/>
          </a:p>
          <a:p>
            <a:r>
              <a:rPr lang="en-US"/>
              <a:t>At SWA, we take great pride in being the #1 domestic airline.  Recently, we were voted the #1 domestic airline for the 11th year in a row by the </a:t>
            </a:r>
            <a:r>
              <a:rPr lang="en-US" err="1"/>
              <a:t>Airforwarders</a:t>
            </a:r>
            <a:r>
              <a:rPr lang="en-US"/>
              <a:t> Association.  What holds true for passengers on our commercial lines, is the same for products and goods that we ship in our air cargo service…outstanding customer service is our priority.  Over the past decade SWA has launched innovative cargo initiatives to include plane-side RFID for tracking shipments and optical scanning.  SWA was the first in the industry to implement K-9 screening, eliminating the expensive and tedious process to de-palletize shipments.  SWA also has a perishable goods shipping capability with no rivals with a trucking service in Florida and augments air cargo from South America during high volume flower purchasing and growing seasons.  </a:t>
            </a:r>
          </a:p>
          <a:p>
            <a:endParaRPr lang="en-US"/>
          </a:p>
          <a:p>
            <a:r>
              <a:rPr lang="en-US"/>
              <a:t>In April 2019, SWA launched Fresh First with emphasis on seafood, herbs, and even tropical fish for pet stores.  Premium products are given priority boarding on oversold/overbooked flights and a 24-hour guarantee to destination.  Despite on-going challenges with backlogged orders of additional Boeing aircraft, inflationary fuel pricing, and difficult choices in network expansion plans, SWA sees tremendous opportunity to meet the current and foreseeable supply chain and logistics' challenges in a post-pandemic domestic economy.</a:t>
            </a:r>
          </a:p>
          <a:p>
            <a:endParaRPr lang="en-US"/>
          </a:p>
          <a:p>
            <a:r>
              <a:rPr lang="en-US"/>
              <a:t>The market research will be aimed at developing a strategy for the growing SWA air cargo service.  The focus will be on expanding our innovative customer offerings for air cargo, conversion of passenger-configured aircraft to full cargo and freight service while maximizing existing routing for revenue generation.  The goal is to maintain the #1 domestic airline company in the US without having to raise ticket prices.</a:t>
            </a:r>
          </a:p>
          <a:p>
            <a:endParaRPr lang="en-US"/>
          </a:p>
          <a:p>
            <a:endParaRPr lang="en-US">
              <a:cs typeface="+mn-lt"/>
            </a:endParaRPr>
          </a:p>
        </p:txBody>
      </p:sp>
      <p:sp>
        <p:nvSpPr>
          <p:cNvPr id="4" name="Slide Number Placeholder 3"/>
          <p:cNvSpPr>
            <a:spLocks noGrp="1"/>
          </p:cNvSpPr>
          <p:nvPr>
            <p:ph type="sldNum" sz="quarter" idx="5"/>
          </p:nvPr>
        </p:nvSpPr>
        <p:spPr/>
        <p:txBody>
          <a:bodyPr/>
          <a:lstStyle/>
          <a:p>
            <a:fld id="{3CCE040E-F31C-9B46-A969-1690AB9E6F22}" type="slidenum">
              <a:rPr lang="en-US" smtClean="0"/>
              <a:t>3</a:t>
            </a:fld>
            <a:endParaRPr lang="en-US"/>
          </a:p>
        </p:txBody>
      </p:sp>
    </p:spTree>
    <p:extLst>
      <p:ext uri="{BB962C8B-B14F-4D97-AF65-F5344CB8AC3E}">
        <p14:creationId xmlns:p14="http://schemas.microsoft.com/office/powerpoint/2010/main" val="3637602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hris Rogers</a:t>
            </a:r>
          </a:p>
          <a:p>
            <a:endParaRPr lang="en-US">
              <a:cs typeface="Calibri"/>
            </a:endParaRPr>
          </a:p>
          <a:p>
            <a:r>
              <a:rPr lang="en-US" b="1"/>
              <a:t>The Question</a:t>
            </a:r>
            <a:endParaRPr lang="en-US"/>
          </a:p>
          <a:p>
            <a:r>
              <a:rPr lang="en-US" b="1"/>
              <a:t> </a:t>
            </a:r>
            <a:endParaRPr lang="en-US"/>
          </a:p>
          <a:p>
            <a:r>
              <a:rPr lang="en-US"/>
              <a:t>Will our continued investment and growth in our air cargo services assist us in diversifying and increasing our revenue streams, maximizing our fleet utilizations “no unused aircraft”, and/or allow us to strategically add cargo capacity as a short- or long-term offering without detriment to our passenger services?</a:t>
            </a:r>
            <a:endParaRPr lang="en-US">
              <a:cs typeface="Calibri"/>
            </a:endParaRPr>
          </a:p>
          <a:p>
            <a:r>
              <a:rPr lang="en-US" b="1"/>
              <a:t> </a:t>
            </a:r>
            <a:endParaRPr lang="en-US"/>
          </a:p>
          <a:p>
            <a:r>
              <a:rPr lang="en-US" b="1"/>
              <a:t>Expected Results</a:t>
            </a:r>
            <a:endParaRPr lang="en-US"/>
          </a:p>
          <a:p>
            <a:r>
              <a:rPr lang="en-US"/>
              <a:t> </a:t>
            </a:r>
            <a:endParaRPr lang="en-US">
              <a:cs typeface="Calibri"/>
            </a:endParaRPr>
          </a:p>
          <a:p>
            <a:r>
              <a:rPr lang="en-US"/>
              <a:t>As a result of our market research we expect to determine the viability and value of our existing air cargo services through a SWOT analysis using our strengths, weaknesses, opportunities, and threats validated through both quantitative and qualitative analyses.</a:t>
            </a:r>
            <a:endParaRPr lang="en-US">
              <a:cs typeface="Calibri"/>
            </a:endParaRPr>
          </a:p>
          <a:p>
            <a:endParaRPr lang="en-US"/>
          </a:p>
          <a:p>
            <a:r>
              <a:rPr lang="en-US"/>
              <a:t>From a quantitative perspective, we will be able to use metrics to measure number of miles flown, tonnage of cargo transported, and the overall return-on-investment for these services. This will assist us in quantifying what the overall value of our air cargo services are to the corporate bottom-line as well as the service value by comparison to other competitors.</a:t>
            </a:r>
            <a:endParaRPr lang="en-US">
              <a:cs typeface="Calibri"/>
            </a:endParaRPr>
          </a:p>
          <a:p>
            <a:r>
              <a:rPr lang="en-US"/>
              <a:t> </a:t>
            </a:r>
            <a:endParaRPr lang="en-US">
              <a:cs typeface="Calibri"/>
            </a:endParaRPr>
          </a:p>
          <a:p>
            <a:r>
              <a:rPr lang="en-US"/>
              <a:t>From a qualitative perspective, we will be able to use customer satisfaction surveys, social media posts, even feedback from our ad and marketing campaigns to ascertain the pulse and satisfaction of our clientele in comparison with the overall communal feelings of customers utilizing our competitors air cargo services.</a:t>
            </a:r>
            <a:endParaRPr lang="en-US">
              <a:cs typeface="Calibri"/>
            </a:endParaRPr>
          </a:p>
          <a:p>
            <a:r>
              <a:rPr lang="en-US"/>
              <a:t> </a:t>
            </a:r>
            <a:endParaRPr lang="en-US">
              <a:cs typeface="Calibri"/>
            </a:endParaRPr>
          </a:p>
          <a:p>
            <a:r>
              <a:rPr lang="en-US"/>
              <a:t>We expect our efforts will help us “Keep our eyes on the Prize” ensuring that our investments in our Air Cargo Services benefit our current and future customers, the corporate bottom-line, and the value to our share-holders. Subsequently, our research and due diligence will also help us “Keep our Fingers on the Pulse” of our Air Cargo Customers, their needs, and their expectations while always monitoring the market movement and customer satisfactions and dissatisfaction trends in the air cargo services market.</a:t>
            </a:r>
            <a:endParaRPr lang="en-US">
              <a:cs typeface="Calibri"/>
            </a:endParaRPr>
          </a:p>
          <a:p>
            <a:r>
              <a:rPr lang="en-US"/>
              <a:t> </a:t>
            </a:r>
            <a:endParaRPr lang="en-US">
              <a:cs typeface="Calibri"/>
            </a:endParaRPr>
          </a:p>
          <a:p>
            <a:r>
              <a:rPr lang="en-US"/>
              <a:t>Overall our research will provide an in-depth study and market analysis of the trending US passenger airline cargo services market allowing us to compare what other airlines are doing to diversify their revenue streams, maximize their fleet utilization, while adding cargo capacity as a short-term and/or long-term profit in comparison to our own efforts. During our research we expect to uncover a plethora of valuable knowledge and information in our own processes giving way to process improvements which will ultimately improve our competitiveness and our revenue generating abilities in the air cargo service market.</a:t>
            </a:r>
            <a:endParaRPr lang="en-US">
              <a:cs typeface="Calibri"/>
            </a:endParaRPr>
          </a:p>
          <a:p>
            <a:r>
              <a:rPr lang="en-US"/>
              <a:t> </a:t>
            </a:r>
            <a:endParaRPr lang="en-US">
              <a:cs typeface="Calibri"/>
            </a:endParaRPr>
          </a:p>
          <a:p>
            <a:r>
              <a:rPr lang="en-US"/>
              <a:t>In the end, by looking at and comparing our Expected Results vs our Actual Results, we will be able to measure our own performance and make the necessary adjustments to develop a strategy for continued growth in our air cargo service while maintaining dominance as the #1 domestic airline company in the US without raising ticket prices.</a:t>
            </a:r>
            <a:endParaRPr lang="en-US">
              <a:cs typeface="Calibri"/>
            </a:endParaRPr>
          </a:p>
        </p:txBody>
      </p:sp>
      <p:sp>
        <p:nvSpPr>
          <p:cNvPr id="4" name="Slide Number Placeholder 3"/>
          <p:cNvSpPr>
            <a:spLocks noGrp="1"/>
          </p:cNvSpPr>
          <p:nvPr>
            <p:ph type="sldNum" sz="quarter" idx="5"/>
          </p:nvPr>
        </p:nvSpPr>
        <p:spPr/>
        <p:txBody>
          <a:bodyPr/>
          <a:lstStyle/>
          <a:p>
            <a:fld id="{3CCE040E-F31C-9B46-A969-1690AB9E6F22}" type="slidenum">
              <a:rPr lang="en-US" smtClean="0"/>
              <a:t>7</a:t>
            </a:fld>
            <a:endParaRPr lang="en-US"/>
          </a:p>
        </p:txBody>
      </p:sp>
    </p:spTree>
    <p:extLst>
      <p:ext uri="{BB962C8B-B14F-4D97-AF65-F5344CB8AC3E}">
        <p14:creationId xmlns:p14="http://schemas.microsoft.com/office/powerpoint/2010/main" val="3930817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cs typeface="Calibri"/>
              </a:rPr>
              <a:t>What is the best course of action when deciding expansion of a new vertical, in this case, Cargo Operations?</a:t>
            </a:r>
          </a:p>
          <a:p>
            <a:pPr marL="742950" lvl="1" indent="-285750">
              <a:buFont typeface="Arial"/>
              <a:buChar char="•"/>
            </a:pPr>
            <a:r>
              <a:rPr lang="en-US">
                <a:cs typeface="Calibri"/>
              </a:rPr>
              <a:t>Is there a way to determine what kind of cargo best suits SWAs image? How does that affect the loyal customer base? How can SWA understand the sentiment</a:t>
            </a:r>
          </a:p>
          <a:p>
            <a:pPr marL="742950" lvl="1" indent="-285750">
              <a:buFont typeface="Arial"/>
              <a:buChar char="•"/>
            </a:pPr>
            <a:r>
              <a:rPr lang="en-US">
                <a:cs typeface="Calibri"/>
              </a:rPr>
              <a:t>The data speaks when international carriers such as those in China show 153% increase in cargo revenue, but is that number indicative to SWA potential? How much can SWA benefit from one data point?</a:t>
            </a:r>
          </a:p>
          <a:p>
            <a:pPr marL="742950" lvl="1" indent="-285750">
              <a:buFont typeface="Arial"/>
              <a:buChar char="•"/>
            </a:pPr>
            <a:endParaRPr lang="en-US">
              <a:cs typeface="Calibri"/>
            </a:endParaRPr>
          </a:p>
          <a:p>
            <a:pPr marL="742950" lvl="1" indent="-285750">
              <a:buFont typeface="Arial"/>
              <a:buChar char="•"/>
            </a:pPr>
            <a:r>
              <a:rPr lang="en-US">
                <a:cs typeface="Calibri"/>
              </a:rPr>
              <a:t>Should SWA focus on Outperformance of cargo operations vs. Declining revenue stream (how to increase revenue? Wil they have to Increase cost?) - Is there a consideration of a lesser of 2 evils?</a:t>
            </a:r>
          </a:p>
          <a:p>
            <a:pPr marL="742950" lvl="1" indent="-285750">
              <a:buFont typeface="Arial"/>
              <a:buChar char="•"/>
            </a:pPr>
            <a:endParaRPr lang="en-US">
              <a:cs typeface="Calibri"/>
            </a:endParaRPr>
          </a:p>
          <a:p>
            <a:pPr marL="742950" lvl="1" indent="-285750">
              <a:buFont typeface="Arial"/>
              <a:buChar char="•"/>
            </a:pPr>
            <a:r>
              <a:rPr lang="en-US">
                <a:cs typeface="Calibri"/>
              </a:rPr>
              <a:t>Skewness of data: Lowest point of travel – May 2020 down from 96%. A report from the WSJ reported pandemic records over one weekend in May 2021, had more than 1.7 million people passing through airport security. These numbers are  great for revenue, but with the unknown effects of multiple factors such as highly contagious variants of COVID19, reinstated restrictions, among others cannot really speak to a consistent effort for the desire to remain proactive in the ability to maximize revenue generation. </a:t>
            </a:r>
          </a:p>
          <a:p>
            <a:pPr marL="742950" lvl="1" indent="-285750">
              <a:buFont typeface="Arial"/>
              <a:buChar char="•"/>
            </a:pPr>
            <a:endParaRPr lang="en-US">
              <a:cs typeface="Calibri"/>
            </a:endParaRPr>
          </a:p>
          <a:p>
            <a:pPr marL="742950" lvl="1" indent="-285750">
              <a:buFont typeface="Arial"/>
              <a:buChar char="•"/>
            </a:pPr>
            <a:r>
              <a:rPr lang="en-US">
                <a:cs typeface="Calibri"/>
              </a:rPr>
              <a:t>How much should SWA focus efforts on Cargo Operations?  - With the data about China increasing revenue 153% is that enough to sway SWAs efforts in expansion. What other factors can SWA examine in order to determine cargo is the right vertical to jump in to. When SWA conducts a cost benefit analysis, what motivating factors will they be weighing in order to make 1 decision or another, or to not make a decision at all?</a:t>
            </a:r>
          </a:p>
          <a:p>
            <a:pPr marL="742950" lvl="1" indent="-285750">
              <a:buFont typeface="Arial"/>
              <a:buChar char="•"/>
            </a:pPr>
            <a:r>
              <a:rPr lang="en-US">
                <a:cs typeface="Calibri"/>
              </a:rPr>
              <a:t>Cost: SWAs low fares are the what attract  value to the 2 types of travelers, as stated in the case study, convenience, time oriented business travelers and price sensitive leisure travelers</a:t>
            </a:r>
          </a:p>
          <a:p>
            <a:pPr marL="742950" lvl="1" indent="-285750">
              <a:buFont typeface="Arial"/>
              <a:buChar char="•"/>
            </a:pPr>
            <a:endParaRPr lang="en-US">
              <a:cs typeface="Calibri"/>
            </a:endParaRPr>
          </a:p>
          <a:p>
            <a:pPr lvl="1"/>
            <a:r>
              <a:rPr lang="en-US">
                <a:cs typeface="Calibri"/>
              </a:rPr>
              <a:t>SWA expanding on Cargo operations should be the focal point of the generation of revenue. The current data of airline passenger travel is not consistent enough to warrant a firm conclusion on sustained numbers moving forward due to the reasons above. SWAs best in class customer service, should be remain a focal point, as written in the case study. With the customer obsession factor, SWA has a loyal customer base that enjoy the no frills, yet friendly carrier. </a:t>
            </a:r>
          </a:p>
        </p:txBody>
      </p:sp>
      <p:sp>
        <p:nvSpPr>
          <p:cNvPr id="4" name="Slide Number Placeholder 3"/>
          <p:cNvSpPr>
            <a:spLocks noGrp="1"/>
          </p:cNvSpPr>
          <p:nvPr>
            <p:ph type="sldNum" sz="quarter" idx="5"/>
          </p:nvPr>
        </p:nvSpPr>
        <p:spPr/>
        <p:txBody>
          <a:bodyPr/>
          <a:lstStyle/>
          <a:p>
            <a:fld id="{3CCE040E-F31C-9B46-A969-1690AB9E6F22}" type="slidenum">
              <a:rPr lang="en-US" smtClean="0"/>
              <a:t>8</a:t>
            </a:fld>
            <a:endParaRPr lang="en-US"/>
          </a:p>
        </p:txBody>
      </p:sp>
    </p:spTree>
    <p:extLst>
      <p:ext uri="{BB962C8B-B14F-4D97-AF65-F5344CB8AC3E}">
        <p14:creationId xmlns:p14="http://schemas.microsoft.com/office/powerpoint/2010/main" val="1830764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end, by looking at and comparing our Expected Results vs our Actual Results, we will be able to measure our own performance and make the necessary adjustments to develop a strategy for continued growth in our air cargo service while maintaining dominance as the #1 domestic airline company in the US without raising ticket prices.</a:t>
            </a:r>
          </a:p>
        </p:txBody>
      </p:sp>
      <p:sp>
        <p:nvSpPr>
          <p:cNvPr id="4" name="Slide Number Placeholder 3"/>
          <p:cNvSpPr>
            <a:spLocks noGrp="1"/>
          </p:cNvSpPr>
          <p:nvPr>
            <p:ph type="sldNum" sz="quarter" idx="5"/>
          </p:nvPr>
        </p:nvSpPr>
        <p:spPr/>
        <p:txBody>
          <a:bodyPr/>
          <a:lstStyle/>
          <a:p>
            <a:fld id="{3CCE040E-F31C-9B46-A969-1690AB9E6F22}" type="slidenum">
              <a:rPr lang="en-US" smtClean="0"/>
              <a:t>10</a:t>
            </a:fld>
            <a:endParaRPr lang="en-US"/>
          </a:p>
        </p:txBody>
      </p:sp>
    </p:spTree>
    <p:extLst>
      <p:ext uri="{BB962C8B-B14F-4D97-AF65-F5344CB8AC3E}">
        <p14:creationId xmlns:p14="http://schemas.microsoft.com/office/powerpoint/2010/main" val="1103041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8297" y="5555831"/>
            <a:ext cx="8033954"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a:t>Title</a:t>
            </a:r>
          </a:p>
          <a:p>
            <a:pPr lvl="1"/>
            <a:r>
              <a:rPr lang="en-US"/>
              <a:t>Subtitle</a:t>
            </a:r>
          </a:p>
          <a:p>
            <a:pPr lvl="2"/>
            <a:r>
              <a:rPr lang="en-US"/>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9144000" cy="6099048"/>
          </a:xfrm>
          <a:prstGeom prst="rect">
            <a:avLst/>
          </a:prstGeom>
        </p:spPr>
      </p:pic>
    </p:spTree>
    <p:extLst>
      <p:ext uri="{BB962C8B-B14F-4D97-AF65-F5344CB8AC3E}">
        <p14:creationId xmlns:p14="http://schemas.microsoft.com/office/powerpoint/2010/main" val="4209227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350837" y="6542760"/>
            <a:ext cx="2009591"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roprietary &amp; Confidential</a:t>
            </a:r>
          </a:p>
        </p:txBody>
      </p:sp>
      <p:sp>
        <p:nvSpPr>
          <p:cNvPr id="9" name="Slide Number Placeholder 5"/>
          <p:cNvSpPr txBox="1">
            <a:spLocks/>
          </p:cNvSpPr>
          <p:nvPr userDrawn="1"/>
        </p:nvSpPr>
        <p:spPr>
          <a:xfrm>
            <a:off x="350837" y="6368852"/>
            <a:ext cx="1464516"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age </a:t>
            </a:r>
            <a:fld id="{50C6FCF5-5946-4146-A67F-21AD3F2F73BB}" type="slidenum">
              <a:rPr lang="en-US" sz="1050" smtClean="0">
                <a:solidFill>
                  <a:schemeClr val="accent4"/>
                </a:solidFill>
              </a:rPr>
              <a:pPr algn="l"/>
              <a:t>‹#›</a:t>
            </a:fld>
            <a:endParaRPr lang="en-US" sz="1050">
              <a:solidFill>
                <a:schemeClr val="accent4"/>
              </a:solidFill>
            </a:endParaRPr>
          </a:p>
        </p:txBody>
      </p:sp>
      <p:sp>
        <p:nvSpPr>
          <p:cNvPr id="11" name="Text Placeholder 2"/>
          <p:cNvSpPr>
            <a:spLocks noGrp="1"/>
          </p:cNvSpPr>
          <p:nvPr userDrawn="1">
            <p:ph idx="1"/>
          </p:nvPr>
        </p:nvSpPr>
        <p:spPr>
          <a:xfrm>
            <a:off x="350837" y="1183342"/>
            <a:ext cx="8436547"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p:cNvSpPr>
            <a:spLocks noGrp="1"/>
          </p:cNvSpPr>
          <p:nvPr userDrawn="1">
            <p:ph type="title"/>
          </p:nvPr>
        </p:nvSpPr>
        <p:spPr>
          <a:xfrm>
            <a:off x="347472" y="402336"/>
            <a:ext cx="8439912" cy="404488"/>
          </a:xfrm>
          <a:prstGeom prst="rect">
            <a:avLst/>
          </a:prstGeom>
        </p:spPr>
        <p:txBody>
          <a:bodyPr vert="horz" lIns="0" tIns="0" rIns="0" bIns="0" rtlCol="0" anchor="t">
            <a:noAutofit/>
          </a:bodyPr>
          <a:lstStyle/>
          <a:p>
            <a:r>
              <a:rPr lang="en-US"/>
              <a:t>Click to edit Master title style</a:t>
            </a:r>
          </a:p>
        </p:txBody>
      </p:sp>
      <p:pic>
        <p:nvPicPr>
          <p:cNvPr id="2" name="Picture 1"/>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6775635"/>
            <a:ext cx="9144000" cy="91440"/>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8351" y="6414401"/>
            <a:ext cx="1479033" cy="244392"/>
          </a:xfrm>
          <a:prstGeom prst="rect">
            <a:avLst/>
          </a:prstGeom>
        </p:spPr>
      </p:pic>
    </p:spTree>
    <p:extLst>
      <p:ext uri="{BB962C8B-B14F-4D97-AF65-F5344CB8AC3E}">
        <p14:creationId xmlns:p14="http://schemas.microsoft.com/office/powerpoint/2010/main" val="1630169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6775635"/>
            <a:ext cx="9144000" cy="91440"/>
          </a:xfrm>
          <a:prstGeom prst="rect">
            <a:avLst/>
          </a:prstGeom>
        </p:spPr>
      </p:pic>
      <p:sp>
        <p:nvSpPr>
          <p:cNvPr id="14" name="Date Placeholder 3"/>
          <p:cNvSpPr txBox="1">
            <a:spLocks/>
          </p:cNvSpPr>
          <p:nvPr userDrawn="1"/>
        </p:nvSpPr>
        <p:spPr>
          <a:xfrm>
            <a:off x="350837" y="6542760"/>
            <a:ext cx="2009591"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roprietary &amp; Confidential</a:t>
            </a:r>
          </a:p>
        </p:txBody>
      </p:sp>
      <p:sp>
        <p:nvSpPr>
          <p:cNvPr id="15" name="Slide Number Placeholder 5"/>
          <p:cNvSpPr txBox="1">
            <a:spLocks/>
          </p:cNvSpPr>
          <p:nvPr userDrawn="1"/>
        </p:nvSpPr>
        <p:spPr>
          <a:xfrm>
            <a:off x="350837" y="6368852"/>
            <a:ext cx="1464516"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age </a:t>
            </a:r>
            <a:fld id="{50C6FCF5-5946-4146-A67F-21AD3F2F73BB}" type="slidenum">
              <a:rPr lang="en-US" sz="1050" smtClean="0">
                <a:solidFill>
                  <a:schemeClr val="accent4"/>
                </a:solidFill>
              </a:rPr>
              <a:pPr algn="l"/>
              <a:t>‹#›</a:t>
            </a:fld>
            <a:endParaRPr lang="en-US" sz="1050">
              <a:solidFill>
                <a:schemeClr val="accent4"/>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8351" y="6414401"/>
            <a:ext cx="1479033" cy="244392"/>
          </a:xfrm>
          <a:prstGeom prst="rect">
            <a:avLst/>
          </a:prstGeom>
        </p:spPr>
      </p:pic>
      <p:sp>
        <p:nvSpPr>
          <p:cNvPr id="10" name="Title Placeholder 1"/>
          <p:cNvSpPr>
            <a:spLocks noGrp="1"/>
          </p:cNvSpPr>
          <p:nvPr>
            <p:ph type="title"/>
          </p:nvPr>
        </p:nvSpPr>
        <p:spPr>
          <a:xfrm>
            <a:off x="347472" y="402336"/>
            <a:ext cx="8439912" cy="404488"/>
          </a:xfrm>
          <a:prstGeom prst="rect">
            <a:avLst/>
          </a:prstGeom>
        </p:spPr>
        <p:txBody>
          <a:bodyPr vert="horz" lIns="0" tIns="0" rIns="0" bIns="0" rtlCol="0" anchor="t">
            <a:noAutofit/>
          </a:bodyPr>
          <a:lstStyle/>
          <a:p>
            <a:r>
              <a:rPr lang="en-US"/>
              <a:t>Click to edit Master title style</a:t>
            </a:r>
          </a:p>
        </p:txBody>
      </p:sp>
      <p:sp>
        <p:nvSpPr>
          <p:cNvPr id="11" name="Text Placeholder 2"/>
          <p:cNvSpPr>
            <a:spLocks noGrp="1"/>
          </p:cNvSpPr>
          <p:nvPr>
            <p:ph idx="1"/>
          </p:nvPr>
        </p:nvSpPr>
        <p:spPr>
          <a:xfrm>
            <a:off x="350838" y="1183342"/>
            <a:ext cx="3995252"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idx="10"/>
          </p:nvPr>
        </p:nvSpPr>
        <p:spPr>
          <a:xfrm>
            <a:off x="4793926" y="1183342"/>
            <a:ext cx="3995252"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377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6775635"/>
            <a:ext cx="9144000" cy="91440"/>
          </a:xfrm>
          <a:prstGeom prst="rect">
            <a:avLst/>
          </a:prstGeom>
        </p:spPr>
      </p:pic>
      <p:sp>
        <p:nvSpPr>
          <p:cNvPr id="16" name="Date Placeholder 3"/>
          <p:cNvSpPr txBox="1">
            <a:spLocks/>
          </p:cNvSpPr>
          <p:nvPr userDrawn="1"/>
        </p:nvSpPr>
        <p:spPr>
          <a:xfrm>
            <a:off x="350837" y="6542760"/>
            <a:ext cx="2009591"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roprietary &amp; Confidential</a:t>
            </a:r>
          </a:p>
        </p:txBody>
      </p:sp>
      <p:sp>
        <p:nvSpPr>
          <p:cNvPr id="17" name="Slide Number Placeholder 5"/>
          <p:cNvSpPr txBox="1">
            <a:spLocks/>
          </p:cNvSpPr>
          <p:nvPr userDrawn="1"/>
        </p:nvSpPr>
        <p:spPr>
          <a:xfrm>
            <a:off x="350837" y="6368852"/>
            <a:ext cx="1464516"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a:solidFill>
                  <a:schemeClr val="accent4"/>
                </a:solidFill>
              </a:rPr>
              <a:t>Page </a:t>
            </a:r>
            <a:fld id="{50C6FCF5-5946-4146-A67F-21AD3F2F73BB}" type="slidenum">
              <a:rPr lang="en-US" sz="1050" smtClean="0">
                <a:solidFill>
                  <a:schemeClr val="accent4"/>
                </a:solidFill>
              </a:rPr>
              <a:pPr algn="l"/>
              <a:t>‹#›</a:t>
            </a:fld>
            <a:endParaRPr lang="en-US" sz="1050">
              <a:solidFill>
                <a:schemeClr val="accent4"/>
              </a:solidFill>
            </a:endParaRPr>
          </a:p>
        </p:txBody>
      </p:sp>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8351" y="6414401"/>
            <a:ext cx="1479033" cy="244392"/>
          </a:xfrm>
          <a:prstGeom prst="rect">
            <a:avLst/>
          </a:prstGeom>
        </p:spPr>
      </p:pic>
      <p:sp>
        <p:nvSpPr>
          <p:cNvPr id="7" name="Title Placeholder 1"/>
          <p:cNvSpPr>
            <a:spLocks noGrp="1"/>
          </p:cNvSpPr>
          <p:nvPr>
            <p:ph type="title"/>
          </p:nvPr>
        </p:nvSpPr>
        <p:spPr>
          <a:xfrm>
            <a:off x="347472" y="402336"/>
            <a:ext cx="8439912" cy="404488"/>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3999068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2601406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47472" y="1568450"/>
            <a:ext cx="8436547" cy="4665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5"/>
          <p:cNvSpPr>
            <a:spLocks noGrp="1"/>
          </p:cNvSpPr>
          <p:nvPr>
            <p:ph type="title"/>
          </p:nvPr>
        </p:nvSpPr>
        <p:spPr>
          <a:xfrm>
            <a:off x="347472" y="274638"/>
            <a:ext cx="82296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901607402"/>
      </p:ext>
    </p:extLst>
  </p:cSld>
  <p:clrMap bg1="lt1" tx1="dk1" bg2="lt2" tx2="dk2" accent1="accent1" accent2="accent2" accent3="accent3" accent4="accent4" accent5="accent5" accent6="accent6" hlink="hlink" folHlink="folHlink"/>
  <p:sldLayoutIdLst>
    <p:sldLayoutId id="2147483663" r:id="rId1"/>
    <p:sldLayoutId id="2147483661" r:id="rId2"/>
    <p:sldLayoutId id="2147483664" r:id="rId3"/>
    <p:sldLayoutId id="2147483662" r:id="rId4"/>
  </p:sldLayoutIdLst>
  <p:hf hdr="0" ftr="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centreforaviation.com/news" TargetMode="External"/><Relationship Id="rId2" Type="http://schemas.openxmlformats.org/officeDocument/2006/relationships/hyperlink" Target="https://www.prnewswire.com/news-releases/southwest-airlines-cargo-earns-top-honor-from-airforwarders-association-for-the-12th-consecutive-year-301264255.html"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54101" y="5111434"/>
            <a:ext cx="8033954" cy="1002197"/>
          </a:xfrm>
        </p:spPr>
        <p:txBody>
          <a:bodyPr/>
          <a:lstStyle/>
          <a:p>
            <a:pPr>
              <a:lnSpc>
                <a:spcPct val="100000"/>
              </a:lnSpc>
            </a:pPr>
            <a:r>
              <a:rPr lang="en-US"/>
              <a:t>Southwest Airlines Cargo</a:t>
            </a:r>
          </a:p>
          <a:p>
            <a:pPr>
              <a:lnSpc>
                <a:spcPct val="100000"/>
              </a:lnSpc>
            </a:pPr>
            <a:r>
              <a:rPr lang="en-US" sz="2200" b="0">
                <a:cs typeface="Arial"/>
              </a:rPr>
              <a:t>University of Oklahoma Executive MBA in Aerospace &amp; Defense</a:t>
            </a:r>
          </a:p>
          <a:p>
            <a:pPr>
              <a:lnSpc>
                <a:spcPct val="100000"/>
              </a:lnSpc>
            </a:pPr>
            <a:r>
              <a:rPr lang="en-US" sz="1600" b="0">
                <a:cs typeface="Arial"/>
              </a:rPr>
              <a:t>Meredith Chaussee, Maurice Compton, Matt Gonzales, Adam Pugh, Chris Rogers</a:t>
            </a:r>
          </a:p>
        </p:txBody>
      </p:sp>
    </p:spTree>
    <p:extLst>
      <p:ext uri="{BB962C8B-B14F-4D97-AF65-F5344CB8AC3E}">
        <p14:creationId xmlns:p14="http://schemas.microsoft.com/office/powerpoint/2010/main" val="605356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54101" y="5175699"/>
            <a:ext cx="8033954" cy="1002197"/>
          </a:xfrm>
        </p:spPr>
        <p:txBody>
          <a:bodyPr/>
          <a:lstStyle/>
          <a:p>
            <a:r>
              <a:rPr lang="en-US"/>
              <a:t>Southwest Airlines Cargo</a:t>
            </a:r>
          </a:p>
          <a:p>
            <a:r>
              <a:rPr lang="en-US" sz="2200" b="0">
                <a:cs typeface="Arial"/>
              </a:rPr>
              <a:t>University of Oklahoma Executive MBA in Aerospace &amp; Defense</a:t>
            </a:r>
          </a:p>
          <a:p>
            <a:r>
              <a:rPr lang="en-US" sz="1600" b="0">
                <a:cs typeface="Arial"/>
              </a:rPr>
              <a:t>Meredith Chaussee, Maurice Compton, Matt Gonzales, Adam Pugh, Chris Rogers</a:t>
            </a:r>
          </a:p>
        </p:txBody>
      </p:sp>
    </p:spTree>
    <p:extLst>
      <p:ext uri="{BB962C8B-B14F-4D97-AF65-F5344CB8AC3E}">
        <p14:creationId xmlns:p14="http://schemas.microsoft.com/office/powerpoint/2010/main" val="993391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47472" y="402336"/>
            <a:ext cx="8439912" cy="404488"/>
          </a:xfrm>
        </p:spPr>
        <p:txBody>
          <a:bodyPr/>
          <a:lstStyle/>
          <a:p>
            <a:r>
              <a:rPr lang="en-US">
                <a:latin typeface="Arial"/>
                <a:cs typeface="Arial"/>
              </a:rPr>
              <a:t>Question</a:t>
            </a:r>
            <a:endParaRPr lang="en-US"/>
          </a:p>
        </p:txBody>
      </p:sp>
      <p:sp>
        <p:nvSpPr>
          <p:cNvPr id="2" name="TextBox 1">
            <a:extLst>
              <a:ext uri="{FF2B5EF4-FFF2-40B4-BE49-F238E27FC236}">
                <a16:creationId xmlns:a16="http://schemas.microsoft.com/office/drawing/2014/main" id="{D947F17C-9AC3-4E02-B2F6-FDE613A26AD6}"/>
              </a:ext>
            </a:extLst>
          </p:cNvPr>
          <p:cNvSpPr txBox="1"/>
          <p:nvPr/>
        </p:nvSpPr>
        <p:spPr>
          <a:xfrm>
            <a:off x="349605" y="1390659"/>
            <a:ext cx="8438492" cy="325550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50000"/>
              </a:lnSpc>
            </a:pPr>
            <a:r>
              <a:rPr lang="en-US" sz="2400" i="1">
                <a:ea typeface="+mn-lt"/>
                <a:cs typeface="+mn-lt"/>
              </a:rPr>
              <a:t>Will our continued investment and growth in our air cargo services assist us in diversifying and increasing our revenue streams, maximizing our fleet utilizations “no unused aircraft”, and/or allow us to strategically add cargo capacity as a short- or long-term offering without detriment to our passenger services?</a:t>
            </a:r>
            <a:endParaRPr lang="en-US" sz="2400" i="1">
              <a:cs typeface="Arial"/>
            </a:endParaRPr>
          </a:p>
        </p:txBody>
      </p:sp>
    </p:spTree>
    <p:extLst>
      <p:ext uri="{BB962C8B-B14F-4D97-AF65-F5344CB8AC3E}">
        <p14:creationId xmlns:p14="http://schemas.microsoft.com/office/powerpoint/2010/main" val="2129206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0838" y="1339028"/>
            <a:ext cx="4220890" cy="3231512"/>
          </a:xfrm>
        </p:spPr>
        <p:txBody>
          <a:bodyPr vert="horz" lIns="0" tIns="0" rIns="0" bIns="0" rtlCol="0" anchor="t">
            <a:normAutofit fontScale="77500" lnSpcReduction="20000"/>
          </a:bodyPr>
          <a:lstStyle/>
          <a:p>
            <a:pPr marL="0" indent="0">
              <a:lnSpc>
                <a:spcPct val="170000"/>
              </a:lnSpc>
              <a:buNone/>
            </a:pPr>
            <a:r>
              <a:rPr lang="en-US" b="1">
                <a:cs typeface="Arial"/>
              </a:rPr>
              <a:t>Devastating Effects of COVID</a:t>
            </a:r>
            <a:endParaRPr lang="en-US" b="1"/>
          </a:p>
          <a:p>
            <a:pPr marL="169545" indent="-169545">
              <a:lnSpc>
                <a:spcPct val="170000"/>
              </a:lnSpc>
            </a:pPr>
            <a:r>
              <a:rPr lang="en-US">
                <a:cs typeface="Arial"/>
              </a:rPr>
              <a:t>May 2020 Domestic airline passenger travel down 96%</a:t>
            </a:r>
          </a:p>
          <a:p>
            <a:pPr marL="169545" indent="-169545">
              <a:lnSpc>
                <a:spcPct val="170000"/>
              </a:lnSpc>
            </a:pPr>
            <a:r>
              <a:rPr lang="en-US">
                <a:cs typeface="Arial"/>
              </a:rPr>
              <a:t>38% Decline in Airline Revenue</a:t>
            </a:r>
            <a:endParaRPr lang="en-US"/>
          </a:p>
          <a:p>
            <a:pPr marL="169545" indent="-169545">
              <a:lnSpc>
                <a:spcPct val="170000"/>
              </a:lnSpc>
            </a:pPr>
            <a:r>
              <a:rPr lang="en-US">
                <a:ea typeface="+mn-lt"/>
                <a:cs typeface="+mn-lt"/>
              </a:rPr>
              <a:t>$95M per day Domestic Passenger Carriers cash burn rate</a:t>
            </a:r>
          </a:p>
          <a:p>
            <a:pPr marL="169545" indent="-169545">
              <a:lnSpc>
                <a:spcPct val="170000"/>
              </a:lnSpc>
            </a:pPr>
            <a:r>
              <a:rPr lang="en-US">
                <a:ea typeface="+mn-lt"/>
                <a:cs typeface="+mn-lt"/>
              </a:rPr>
              <a:t>IATA expects a 61% decline of total passenger revenue</a:t>
            </a:r>
            <a:endParaRPr lang="en-US">
              <a:cs typeface="Arial"/>
            </a:endParaRPr>
          </a:p>
          <a:p>
            <a:pPr marL="169545" indent="-169545">
              <a:lnSpc>
                <a:spcPct val="170000"/>
              </a:lnSpc>
            </a:pPr>
            <a:r>
              <a:rPr lang="en-US">
                <a:ea typeface="+mn-lt"/>
                <a:cs typeface="+mn-lt"/>
              </a:rPr>
              <a:t>Economic forecast effected well into FY22 and beyond</a:t>
            </a:r>
          </a:p>
          <a:p>
            <a:pPr marL="169545" indent="-169545">
              <a:lnSpc>
                <a:spcPct val="170000"/>
              </a:lnSpc>
            </a:pPr>
            <a:r>
              <a:rPr lang="en-US">
                <a:ea typeface="+mn-lt"/>
                <a:cs typeface="+mn-lt"/>
              </a:rPr>
              <a:t>Airline industry has record losses over past 24 months</a:t>
            </a:r>
          </a:p>
          <a:p>
            <a:pPr marL="169545" indent="-169545">
              <a:lnSpc>
                <a:spcPct val="170000"/>
              </a:lnSpc>
            </a:pPr>
            <a:r>
              <a:rPr lang="en-US">
                <a:ea typeface="+mn-lt"/>
                <a:cs typeface="+mn-lt"/>
              </a:rPr>
              <a:t>Business and International travel make up over 50%</a:t>
            </a:r>
          </a:p>
          <a:p>
            <a:pPr marL="169545" indent="-169545">
              <a:lnSpc>
                <a:spcPct val="170000"/>
              </a:lnSpc>
            </a:pPr>
            <a:r>
              <a:rPr lang="en-US">
                <a:ea typeface="+mn-lt"/>
                <a:cs typeface="+mn-lt"/>
              </a:rPr>
              <a:t>Air Travel normalcy not expected to start until Q1 2023 </a:t>
            </a:r>
          </a:p>
          <a:p>
            <a:pPr marL="169545" indent="-169545">
              <a:lnSpc>
                <a:spcPct val="170000"/>
              </a:lnSpc>
            </a:pPr>
            <a:r>
              <a:rPr lang="en-US">
                <a:ea typeface="+mn-lt"/>
                <a:cs typeface="+mn-lt"/>
              </a:rPr>
              <a:t>Air Travel normalcy not expected to recover until 2025</a:t>
            </a:r>
          </a:p>
        </p:txBody>
      </p:sp>
      <p:sp>
        <p:nvSpPr>
          <p:cNvPr id="5" name="Title 1"/>
          <p:cNvSpPr>
            <a:spLocks noGrp="1"/>
          </p:cNvSpPr>
          <p:nvPr>
            <p:ph type="title"/>
          </p:nvPr>
        </p:nvSpPr>
        <p:spPr>
          <a:xfrm>
            <a:off x="347472" y="402336"/>
            <a:ext cx="8439912" cy="404488"/>
          </a:xfrm>
        </p:spPr>
        <p:txBody>
          <a:bodyPr/>
          <a:lstStyle/>
          <a:p>
            <a:r>
              <a:rPr lang="en-US">
                <a:latin typeface="Arial"/>
                <a:cs typeface="Arial"/>
              </a:rPr>
              <a:t>Background</a:t>
            </a:r>
            <a:endParaRPr lang="en-US"/>
          </a:p>
        </p:txBody>
      </p:sp>
      <p:sp>
        <p:nvSpPr>
          <p:cNvPr id="4" name="TextBox 3">
            <a:extLst>
              <a:ext uri="{FF2B5EF4-FFF2-40B4-BE49-F238E27FC236}">
                <a16:creationId xmlns:a16="http://schemas.microsoft.com/office/drawing/2014/main" id="{97D6858F-2F99-4464-B317-8751B3EA0431}"/>
              </a:ext>
            </a:extLst>
          </p:cNvPr>
          <p:cNvSpPr txBox="1"/>
          <p:nvPr/>
        </p:nvSpPr>
        <p:spPr>
          <a:xfrm>
            <a:off x="4750807" y="1338781"/>
            <a:ext cx="4101218" cy="32805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70000"/>
              </a:lnSpc>
              <a:spcBef>
                <a:spcPct val="20000"/>
              </a:spcBef>
            </a:pPr>
            <a:r>
              <a:rPr lang="en-US" sz="1200" b="1"/>
              <a:t>The Future of Airline Travel</a:t>
            </a:r>
            <a:endParaRPr lang="en-US"/>
          </a:p>
          <a:p>
            <a:pPr marL="169545" indent="-169545">
              <a:lnSpc>
                <a:spcPct val="170000"/>
              </a:lnSpc>
              <a:spcBef>
                <a:spcPct val="20000"/>
              </a:spcBef>
              <a:buFont typeface="Arial"/>
              <a:buChar char="•"/>
            </a:pPr>
            <a:r>
              <a:rPr lang="en-US" sz="1200"/>
              <a:t>Resurgence of domestic passenger travel in Q2 2021</a:t>
            </a:r>
            <a:endParaRPr lang="en-US" sz="1200">
              <a:ea typeface="+mn-lt"/>
              <a:cs typeface="+mn-lt"/>
            </a:endParaRPr>
          </a:p>
          <a:p>
            <a:pPr marL="169545" indent="-169545">
              <a:lnSpc>
                <a:spcPct val="170000"/>
              </a:lnSpc>
              <a:spcBef>
                <a:spcPct val="20000"/>
              </a:spcBef>
              <a:buFont typeface="Arial"/>
              <a:buChar char="•"/>
            </a:pPr>
            <a:r>
              <a:rPr lang="en-US" sz="1200"/>
              <a:t>Air Cargo Services are strongly outperforming passenger traffic</a:t>
            </a:r>
            <a:endParaRPr lang="en-US" sz="1200">
              <a:ea typeface="+mn-lt"/>
              <a:cs typeface="+mn-lt"/>
            </a:endParaRPr>
          </a:p>
          <a:p>
            <a:pPr marL="169545" indent="-169545">
              <a:lnSpc>
                <a:spcPct val="170000"/>
              </a:lnSpc>
              <a:spcBef>
                <a:spcPct val="20000"/>
              </a:spcBef>
              <a:buFont typeface="Arial"/>
              <a:buChar char="•"/>
            </a:pPr>
            <a:r>
              <a:rPr lang="en-US" sz="1200"/>
              <a:t>Air Cargo Services have only experienced an 8% decline in revenue</a:t>
            </a:r>
            <a:endParaRPr lang="en-US" sz="1200">
              <a:ea typeface="+mn-lt"/>
              <a:cs typeface="+mn-lt"/>
            </a:endParaRPr>
          </a:p>
          <a:p>
            <a:pPr marL="169545" indent="-169545">
              <a:lnSpc>
                <a:spcPct val="170000"/>
              </a:lnSpc>
              <a:spcBef>
                <a:spcPct val="20000"/>
              </a:spcBef>
              <a:buFont typeface="Arial"/>
              <a:buChar char="•"/>
            </a:pPr>
            <a:r>
              <a:rPr lang="en-US" sz="1200"/>
              <a:t>International Carriers experiencing tremendous growth in cargo revenue</a:t>
            </a:r>
            <a:endParaRPr lang="en-US" sz="1200">
              <a:ea typeface="+mn-lt"/>
              <a:cs typeface="+mn-lt"/>
            </a:endParaRPr>
          </a:p>
          <a:p>
            <a:pPr marL="169545" indent="-169545">
              <a:lnSpc>
                <a:spcPct val="170000"/>
              </a:lnSpc>
              <a:spcBef>
                <a:spcPct val="20000"/>
              </a:spcBef>
              <a:buFont typeface="Arial"/>
              <a:buChar char="•"/>
            </a:pPr>
            <a:r>
              <a:rPr lang="en-US" sz="1200"/>
              <a:t>China has shown a 153% growth in Air Cargo Services in May 2021</a:t>
            </a:r>
            <a:endParaRPr lang="en-US"/>
          </a:p>
        </p:txBody>
      </p:sp>
    </p:spTree>
    <p:extLst>
      <p:ext uri="{BB962C8B-B14F-4D97-AF65-F5344CB8AC3E}">
        <p14:creationId xmlns:p14="http://schemas.microsoft.com/office/powerpoint/2010/main" val="2239950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47472" y="402336"/>
            <a:ext cx="8439912" cy="404488"/>
          </a:xfrm>
        </p:spPr>
        <p:txBody>
          <a:bodyPr/>
          <a:lstStyle/>
          <a:p>
            <a:r>
              <a:rPr lang="en-US">
                <a:latin typeface="Arial"/>
                <a:cs typeface="Arial"/>
              </a:rPr>
              <a:t>Purpose</a:t>
            </a:r>
            <a:endParaRPr lang="en-US"/>
          </a:p>
        </p:txBody>
      </p:sp>
      <p:sp>
        <p:nvSpPr>
          <p:cNvPr id="2" name="TextBox 1">
            <a:extLst>
              <a:ext uri="{FF2B5EF4-FFF2-40B4-BE49-F238E27FC236}">
                <a16:creationId xmlns:a16="http://schemas.microsoft.com/office/drawing/2014/main" id="{6AA234CB-7DD0-49A9-8127-3C64005173BD}"/>
              </a:ext>
            </a:extLst>
          </p:cNvPr>
          <p:cNvSpPr txBox="1"/>
          <p:nvPr/>
        </p:nvSpPr>
        <p:spPr>
          <a:xfrm>
            <a:off x="349111" y="1264358"/>
            <a:ext cx="8723868" cy="547842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a:cs typeface="Arial"/>
              </a:rPr>
              <a:t>To ascertain if revenue from Cargo Operations is sustainable</a:t>
            </a:r>
          </a:p>
          <a:p>
            <a:pPr marL="285750" indent="-285750">
              <a:buFont typeface="Arial"/>
              <a:buChar char="•"/>
            </a:pPr>
            <a:endParaRPr lang="en-US">
              <a:cs typeface="Arial"/>
            </a:endParaRPr>
          </a:p>
          <a:p>
            <a:pPr marL="285750" indent="-285750">
              <a:buFont typeface="Arial"/>
              <a:buChar char="•"/>
            </a:pPr>
            <a:r>
              <a:rPr lang="en-US">
                <a:ea typeface="+mn-lt"/>
                <a:cs typeface="+mn-lt"/>
              </a:rPr>
              <a:t>To determine how long the demand for Air Cargo Services will outpace the supply and demand for profitability</a:t>
            </a:r>
          </a:p>
          <a:p>
            <a:pPr marL="285750" indent="-285750">
              <a:buFont typeface="Arial"/>
              <a:buChar char="•"/>
            </a:pPr>
            <a:endParaRPr lang="en-US">
              <a:cs typeface="Arial"/>
            </a:endParaRPr>
          </a:p>
          <a:p>
            <a:pPr marL="285750" indent="-285750">
              <a:buFont typeface="Arial"/>
              <a:buChar char="•"/>
            </a:pPr>
            <a:r>
              <a:rPr lang="en-US">
                <a:cs typeface="Arial"/>
              </a:rPr>
              <a:t>To determine if the Air Cargo Service business model makes sense for Southwest </a:t>
            </a:r>
          </a:p>
          <a:p>
            <a:pPr marL="285750" indent="-285750">
              <a:buFont typeface="Arial"/>
              <a:buChar char="•"/>
            </a:pPr>
            <a:endParaRPr lang="en-US">
              <a:cs typeface="Arial"/>
            </a:endParaRPr>
          </a:p>
          <a:p>
            <a:pPr marL="285750" indent="-285750">
              <a:buFont typeface="Arial"/>
              <a:buChar char="•"/>
            </a:pPr>
            <a:r>
              <a:rPr lang="en-US">
                <a:ea typeface="+mn-lt"/>
                <a:cs typeface="+mn-lt"/>
              </a:rPr>
              <a:t>To understand how the COVID has increased the need for adaptive cargo handling and shipping</a:t>
            </a: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endParaRPr lang="en-US">
              <a:cs typeface="Arial"/>
            </a:endParaRPr>
          </a:p>
          <a:p>
            <a:pPr marL="285750" indent="-285750">
              <a:buFont typeface="Arial"/>
              <a:buChar char="•"/>
            </a:pPr>
            <a:r>
              <a:rPr lang="en-US">
                <a:cs typeface="Arial"/>
              </a:rPr>
              <a:t>Keeping our purpose in mind with our achievements against other carriers: </a:t>
            </a:r>
          </a:p>
          <a:p>
            <a:pPr marL="285750" indent="-285750">
              <a:buFont typeface="Arial"/>
              <a:buChar char="•"/>
            </a:pPr>
            <a:endParaRPr lang="en-US">
              <a:ea typeface="+mn-lt"/>
              <a:cs typeface="+mn-lt"/>
            </a:endParaRPr>
          </a:p>
          <a:p>
            <a:pPr marL="742950" lvl="1" indent="-285750">
              <a:buFont typeface="Arial"/>
              <a:buChar char="•"/>
            </a:pPr>
            <a:r>
              <a:rPr lang="en-US">
                <a:ea typeface="+mn-lt"/>
                <a:cs typeface="+mn-lt"/>
              </a:rPr>
              <a:t>Southwest awarded 12th consecutive </a:t>
            </a:r>
            <a:r>
              <a:rPr lang="en-US" err="1">
                <a:ea typeface="+mn-lt"/>
                <a:cs typeface="+mn-lt"/>
              </a:rPr>
              <a:t>Airforwarders</a:t>
            </a:r>
            <a:r>
              <a:rPr lang="en-US">
                <a:ea typeface="+mn-lt"/>
                <a:cs typeface="+mn-lt"/>
              </a:rPr>
              <a:t> Association Top Honor for Cargo handling</a:t>
            </a:r>
            <a:endParaRPr lang="en-US">
              <a:cs typeface="Arial"/>
            </a:endParaRPr>
          </a:p>
          <a:p>
            <a:pPr marL="742950" lvl="1" indent="-285750">
              <a:buFont typeface="Arial"/>
              <a:buChar char="•"/>
            </a:pPr>
            <a:r>
              <a:rPr lang="en-US">
                <a:cs typeface="Arial"/>
              </a:rPr>
              <a:t>2019 Southwest revenue increased by 11 percent, 7 percent more than both Delta Airlines and United Airlines</a:t>
            </a:r>
          </a:p>
          <a:p>
            <a:endParaRPr lang="en-US">
              <a:cs typeface="Arial"/>
            </a:endParaRPr>
          </a:p>
          <a:p>
            <a:endParaRPr lang="en-US" sz="1400">
              <a:cs typeface="Arial"/>
            </a:endParaRPr>
          </a:p>
        </p:txBody>
      </p:sp>
    </p:spTree>
    <p:extLst>
      <p:ext uri="{BB962C8B-B14F-4D97-AF65-F5344CB8AC3E}">
        <p14:creationId xmlns:p14="http://schemas.microsoft.com/office/powerpoint/2010/main" val="1154681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7472" y="402336"/>
            <a:ext cx="8439912" cy="404488"/>
          </a:xfrm>
        </p:spPr>
        <p:txBody>
          <a:bodyPr/>
          <a:lstStyle/>
          <a:p>
            <a:r>
              <a:rPr lang="en-US">
                <a:latin typeface="Arial"/>
                <a:cs typeface="Arial"/>
              </a:rPr>
              <a:t>Research Plan and Data Collection/Evaluation</a:t>
            </a:r>
            <a:endParaRPr lang="en-US"/>
          </a:p>
        </p:txBody>
      </p:sp>
      <p:sp>
        <p:nvSpPr>
          <p:cNvPr id="2" name="TextBox 1">
            <a:extLst>
              <a:ext uri="{FF2B5EF4-FFF2-40B4-BE49-F238E27FC236}">
                <a16:creationId xmlns:a16="http://schemas.microsoft.com/office/drawing/2014/main" id="{AE93260A-CBE2-41AE-8F88-A626BD4667E7}"/>
              </a:ext>
            </a:extLst>
          </p:cNvPr>
          <p:cNvSpPr txBox="1"/>
          <p:nvPr/>
        </p:nvSpPr>
        <p:spPr>
          <a:xfrm>
            <a:off x="349111" y="810123"/>
            <a:ext cx="8538911" cy="790985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indent="-171450">
              <a:lnSpc>
                <a:spcPct val="150000"/>
              </a:lnSpc>
              <a:buFont typeface="Arial"/>
              <a:buChar char="•"/>
            </a:pPr>
            <a:r>
              <a:rPr lang="en-US" sz="1600">
                <a:cs typeface="Arial"/>
              </a:rPr>
              <a:t>We would use our in-house Marketing department to collaborate with our Cargo Marketing department to keep costs low while executing our research plan</a:t>
            </a:r>
          </a:p>
          <a:p>
            <a:pPr marL="171450" indent="-171450">
              <a:lnSpc>
                <a:spcPct val="150000"/>
              </a:lnSpc>
              <a:buFont typeface="Arial"/>
              <a:buChar char="•"/>
            </a:pPr>
            <a:endParaRPr lang="en-US" sz="1600">
              <a:cs typeface="Arial"/>
            </a:endParaRPr>
          </a:p>
          <a:p>
            <a:pPr marL="171450" indent="-171450">
              <a:lnSpc>
                <a:spcPct val="150000"/>
              </a:lnSpc>
              <a:buFont typeface="Arial"/>
              <a:buChar char="•"/>
            </a:pPr>
            <a:r>
              <a:rPr lang="en-US" sz="1600">
                <a:cs typeface="Arial"/>
              </a:rPr>
              <a:t>To collect data, we would use primary data: </a:t>
            </a:r>
          </a:p>
          <a:p>
            <a:pPr marL="628650" lvl="1" indent="-171450">
              <a:lnSpc>
                <a:spcPct val="150000"/>
              </a:lnSpc>
              <a:buFont typeface="Arial"/>
              <a:buChar char="•"/>
            </a:pPr>
            <a:r>
              <a:rPr lang="en-US" sz="1600">
                <a:cs typeface="Arial"/>
              </a:rPr>
              <a:t>Primary due to our specific research investigation</a:t>
            </a:r>
          </a:p>
          <a:p>
            <a:pPr marL="628650" lvl="1" indent="-171450">
              <a:lnSpc>
                <a:spcPct val="150000"/>
              </a:lnSpc>
              <a:buFont typeface="Arial"/>
              <a:buChar char="•"/>
            </a:pPr>
            <a:r>
              <a:rPr lang="en-US" sz="1600">
                <a:cs typeface="Arial"/>
              </a:rPr>
              <a:t>We have historic data that was previously collected from projects for Cargo that is readily available for our interpretation</a:t>
            </a:r>
          </a:p>
          <a:p>
            <a:pPr marL="628650" lvl="1" indent="-171450">
              <a:lnSpc>
                <a:spcPct val="150000"/>
              </a:lnSpc>
              <a:buFont typeface="Arial"/>
              <a:buChar char="•"/>
            </a:pPr>
            <a:endParaRPr lang="en-US" sz="1600">
              <a:cs typeface="Arial"/>
            </a:endParaRPr>
          </a:p>
          <a:p>
            <a:pPr marL="171450" indent="-171450">
              <a:lnSpc>
                <a:spcPct val="150000"/>
              </a:lnSpc>
              <a:buFont typeface="Arial"/>
              <a:buChar char="•"/>
            </a:pPr>
            <a:r>
              <a:rPr lang="en-US" sz="1600">
                <a:cs typeface="Arial"/>
              </a:rPr>
              <a:t>Additionally, we would include both qualitative and quantitative research: </a:t>
            </a:r>
          </a:p>
          <a:p>
            <a:pPr marL="628650" lvl="1" indent="-171450">
              <a:lnSpc>
                <a:spcPct val="150000"/>
              </a:lnSpc>
              <a:buFont typeface="Arial"/>
              <a:buChar char="•"/>
            </a:pPr>
            <a:r>
              <a:rPr lang="en-US" sz="1600">
                <a:cs typeface="Arial"/>
              </a:rPr>
              <a:t>Qualitative research would be used for long interviews with existing Cargo customers to ascertain their sentiment towards using Southwest going forward </a:t>
            </a:r>
          </a:p>
          <a:p>
            <a:pPr marL="628650" lvl="1" indent="-171450">
              <a:lnSpc>
                <a:spcPct val="150000"/>
              </a:lnSpc>
              <a:buFont typeface="Arial"/>
              <a:buChar char="•"/>
            </a:pPr>
            <a:r>
              <a:rPr lang="en-US" sz="1600">
                <a:cs typeface="Arial"/>
              </a:rPr>
              <a:t>Quantitative research would primarily be used, including</a:t>
            </a:r>
            <a:r>
              <a:rPr lang="en-US" sz="1600">
                <a:ea typeface="+mn-lt"/>
                <a:cs typeface="+mn-lt"/>
              </a:rPr>
              <a:t> survey research with potential Cargo customers, mostly collected over the phone and online through surveys that would be sent via email and offered on the Southwest Cargo website from traffic, and mathematical modeling of our existing data </a:t>
            </a:r>
            <a:endParaRPr lang="en-US" sz="1600">
              <a:cs typeface="Arial"/>
            </a:endParaRPr>
          </a:p>
          <a:p>
            <a:pPr marL="628650" lvl="1" indent="-171450">
              <a:lnSpc>
                <a:spcPct val="150000"/>
              </a:lnSpc>
              <a:buFont typeface="Arial"/>
              <a:buChar char="•"/>
            </a:pPr>
            <a:endParaRPr lang="en-US" sz="1600">
              <a:cs typeface="Arial"/>
            </a:endParaRPr>
          </a:p>
          <a:p>
            <a:pPr marL="171450" indent="-171450">
              <a:lnSpc>
                <a:spcPct val="150000"/>
              </a:lnSpc>
              <a:buFont typeface="Arial"/>
              <a:buChar char="•"/>
            </a:pPr>
            <a:endParaRPr lang="en-US" sz="1600">
              <a:cs typeface="Arial"/>
            </a:endParaRPr>
          </a:p>
          <a:p>
            <a:pPr marL="171450" indent="-171450">
              <a:buFont typeface="Arial"/>
              <a:buChar char="•"/>
            </a:pPr>
            <a:endParaRPr lang="en-US" sz="1600">
              <a:cs typeface="Arial"/>
            </a:endParaRPr>
          </a:p>
          <a:p>
            <a:pPr marL="171450" indent="-171450">
              <a:buFont typeface="Arial"/>
              <a:buChar char="•"/>
            </a:pPr>
            <a:endParaRPr lang="en-US" sz="1600">
              <a:cs typeface="Arial"/>
            </a:endParaRPr>
          </a:p>
          <a:p>
            <a:pPr marL="171450" indent="-171450">
              <a:buFont typeface="Arial"/>
              <a:buChar char="•"/>
            </a:pPr>
            <a:endParaRPr lang="en-US" sz="1600">
              <a:cs typeface="Arial"/>
            </a:endParaRPr>
          </a:p>
          <a:p>
            <a:pPr marL="171450" indent="-171450">
              <a:buFont typeface="Arial"/>
              <a:buChar char="•"/>
            </a:pPr>
            <a:endParaRPr lang="en-US" sz="1600"/>
          </a:p>
          <a:p>
            <a:pPr marL="171450" indent="-171450">
              <a:buFont typeface="Arial"/>
              <a:buChar char="•"/>
            </a:pPr>
            <a:endParaRPr lang="en-US" sz="1600">
              <a:cs typeface="Arial"/>
            </a:endParaRPr>
          </a:p>
          <a:p>
            <a:pPr marL="171450" indent="-171450">
              <a:buFont typeface="Arial"/>
              <a:buChar char="•"/>
            </a:pPr>
            <a:endParaRPr lang="en-US" sz="1400">
              <a:cs typeface="Arial"/>
            </a:endParaRPr>
          </a:p>
          <a:p>
            <a:endParaRPr lang="en-US" sz="1200">
              <a:cs typeface="Arial"/>
            </a:endParaRPr>
          </a:p>
        </p:txBody>
      </p:sp>
    </p:spTree>
    <p:extLst>
      <p:ext uri="{BB962C8B-B14F-4D97-AF65-F5344CB8AC3E}">
        <p14:creationId xmlns:p14="http://schemas.microsoft.com/office/powerpoint/2010/main" val="1302074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7472" y="402336"/>
            <a:ext cx="8439912" cy="404488"/>
          </a:xfrm>
        </p:spPr>
        <p:txBody>
          <a:bodyPr/>
          <a:lstStyle/>
          <a:p>
            <a:r>
              <a:rPr lang="en-US">
                <a:latin typeface="Arial"/>
                <a:cs typeface="Arial"/>
              </a:rPr>
              <a:t>Data Processing and Performance</a:t>
            </a:r>
            <a:endParaRPr lang="en-US"/>
          </a:p>
        </p:txBody>
      </p:sp>
      <p:sp>
        <p:nvSpPr>
          <p:cNvPr id="2" name="TextBox 1">
            <a:extLst>
              <a:ext uri="{FF2B5EF4-FFF2-40B4-BE49-F238E27FC236}">
                <a16:creationId xmlns:a16="http://schemas.microsoft.com/office/drawing/2014/main" id="{20EFA8C8-6EB0-4A2B-948F-6B422083D317}"/>
              </a:ext>
            </a:extLst>
          </p:cNvPr>
          <p:cNvSpPr txBox="1"/>
          <p:nvPr/>
        </p:nvSpPr>
        <p:spPr>
          <a:xfrm>
            <a:off x="349111" y="1360070"/>
            <a:ext cx="8325413" cy="3647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150000"/>
              </a:lnSpc>
              <a:buFont typeface="Arial"/>
              <a:buChar char="•"/>
            </a:pPr>
            <a:r>
              <a:rPr lang="en-US" sz="1600">
                <a:ea typeface="+mn-lt"/>
                <a:cs typeface="+mn-lt"/>
              </a:rPr>
              <a:t>Based upon the data, we would interpret and assess our results given the feedback from existing Cargo customers to determine the content for surveys</a:t>
            </a:r>
          </a:p>
          <a:p>
            <a:pPr marL="285750" indent="-285750">
              <a:lnSpc>
                <a:spcPct val="150000"/>
              </a:lnSpc>
              <a:buFont typeface="Arial"/>
              <a:buChar char="•"/>
            </a:pPr>
            <a:endParaRPr lang="en-US" sz="1600">
              <a:ea typeface="+mn-lt"/>
              <a:cs typeface="+mn-lt"/>
            </a:endParaRPr>
          </a:p>
          <a:p>
            <a:pPr marL="285750" indent="-285750">
              <a:lnSpc>
                <a:spcPct val="150000"/>
              </a:lnSpc>
              <a:buFont typeface="Arial"/>
              <a:buChar char="•"/>
            </a:pPr>
            <a:r>
              <a:rPr lang="en-US" sz="1600">
                <a:ea typeface="+mn-lt"/>
                <a:cs typeface="+mn-lt"/>
              </a:rPr>
              <a:t>Our in-house Marketing departments would create the surveys, pre-test them amongst </a:t>
            </a:r>
            <a:r>
              <a:rPr lang="en-US" sz="1600" err="1">
                <a:ea typeface="+mn-lt"/>
                <a:cs typeface="+mn-lt"/>
              </a:rPr>
              <a:t>CoHearts</a:t>
            </a:r>
            <a:r>
              <a:rPr lang="en-US" sz="1600">
                <a:ea typeface="+mn-lt"/>
                <a:cs typeface="+mn-lt"/>
              </a:rPr>
              <a:t>, and thoroughly validate before sending to potential Cargo customers</a:t>
            </a:r>
            <a:endParaRPr lang="en-US">
              <a:cs typeface="Arial"/>
            </a:endParaRPr>
          </a:p>
          <a:p>
            <a:pPr marL="285750" indent="-285750">
              <a:lnSpc>
                <a:spcPct val="150000"/>
              </a:lnSpc>
              <a:buFont typeface="Arial"/>
              <a:buChar char="•"/>
            </a:pPr>
            <a:endParaRPr lang="en-US" sz="1600">
              <a:ea typeface="+mn-lt"/>
              <a:cs typeface="+mn-lt"/>
            </a:endParaRPr>
          </a:p>
          <a:p>
            <a:pPr marL="285750" indent="-285750">
              <a:lnSpc>
                <a:spcPct val="150000"/>
              </a:lnSpc>
              <a:buFont typeface="Arial"/>
              <a:buChar char="•"/>
            </a:pPr>
            <a:r>
              <a:rPr lang="en-US" sz="1600">
                <a:ea typeface="+mn-lt"/>
                <a:cs typeface="+mn-lt"/>
              </a:rPr>
              <a:t>After collecting data from potential customers, we analyze our data and process the results </a:t>
            </a:r>
          </a:p>
          <a:p>
            <a:pPr marL="285750" indent="-285750">
              <a:lnSpc>
                <a:spcPct val="150000"/>
              </a:lnSpc>
              <a:buFont typeface="Arial"/>
              <a:buChar char="•"/>
            </a:pPr>
            <a:endParaRPr lang="en-US" sz="1600">
              <a:ea typeface="+mn-lt"/>
              <a:cs typeface="+mn-lt"/>
            </a:endParaRPr>
          </a:p>
          <a:p>
            <a:pPr marL="285750" indent="-285750">
              <a:lnSpc>
                <a:spcPct val="150000"/>
              </a:lnSpc>
              <a:buFont typeface="Arial"/>
              <a:buChar char="•"/>
            </a:pPr>
            <a:endParaRPr lang="en-US" sz="1600">
              <a:ea typeface="+mn-lt"/>
              <a:cs typeface="+mn-lt"/>
            </a:endParaRPr>
          </a:p>
        </p:txBody>
      </p:sp>
    </p:spTree>
    <p:extLst>
      <p:ext uri="{BB962C8B-B14F-4D97-AF65-F5344CB8AC3E}">
        <p14:creationId xmlns:p14="http://schemas.microsoft.com/office/powerpoint/2010/main" val="3051305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7472" y="402336"/>
            <a:ext cx="8439912" cy="404488"/>
          </a:xfrm>
        </p:spPr>
        <p:txBody>
          <a:bodyPr/>
          <a:lstStyle/>
          <a:p>
            <a:r>
              <a:rPr lang="en-US">
                <a:latin typeface="Arial"/>
                <a:cs typeface="Arial"/>
              </a:rPr>
              <a:t>Expected Results</a:t>
            </a:r>
            <a:endParaRPr lang="en-US"/>
          </a:p>
        </p:txBody>
      </p:sp>
      <p:sp>
        <p:nvSpPr>
          <p:cNvPr id="2" name="TextBox 1">
            <a:extLst>
              <a:ext uri="{FF2B5EF4-FFF2-40B4-BE49-F238E27FC236}">
                <a16:creationId xmlns:a16="http://schemas.microsoft.com/office/drawing/2014/main" id="{7ABF8A3A-B645-4E3D-8310-244227FEF7FA}"/>
              </a:ext>
            </a:extLst>
          </p:cNvPr>
          <p:cNvSpPr txBox="1"/>
          <p:nvPr/>
        </p:nvSpPr>
        <p:spPr>
          <a:xfrm>
            <a:off x="349112" y="1318431"/>
            <a:ext cx="8384582" cy="42133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lnSpc>
                <a:spcPct val="200000"/>
              </a:lnSpc>
              <a:buFont typeface="Arial"/>
              <a:buChar char="•"/>
            </a:pPr>
            <a:r>
              <a:rPr lang="en-US" sz="2000">
                <a:cs typeface="Arial"/>
              </a:rPr>
              <a:t>To have a better understanding of our SWOT</a:t>
            </a:r>
            <a:endParaRPr lang="en-US" sz="1600">
              <a:cs typeface="Arial"/>
            </a:endParaRPr>
          </a:p>
          <a:p>
            <a:pPr marL="342900" indent="-342900">
              <a:lnSpc>
                <a:spcPct val="200000"/>
              </a:lnSpc>
              <a:buFont typeface="Arial"/>
              <a:buChar char="•"/>
            </a:pPr>
            <a:r>
              <a:rPr lang="en-US" sz="2000">
                <a:cs typeface="Arial"/>
              </a:rPr>
              <a:t>Valuation and Validation of our existing Air Cargo Services</a:t>
            </a:r>
            <a:endParaRPr lang="en-US" sz="1600">
              <a:cs typeface="Arial"/>
            </a:endParaRPr>
          </a:p>
          <a:p>
            <a:pPr marL="342900" indent="-342900">
              <a:lnSpc>
                <a:spcPct val="200000"/>
              </a:lnSpc>
              <a:buFont typeface="Arial"/>
              <a:buChar char="•"/>
            </a:pPr>
            <a:r>
              <a:rPr lang="en-US" sz="2000">
                <a:cs typeface="Arial"/>
              </a:rPr>
              <a:t>Quantify the perceived public value of Air Cargo Services</a:t>
            </a:r>
            <a:endParaRPr lang="en-US" sz="1600"/>
          </a:p>
          <a:p>
            <a:pPr marL="342900" indent="-342900">
              <a:lnSpc>
                <a:spcPct val="200000"/>
              </a:lnSpc>
              <a:buFont typeface="Arial"/>
              <a:buChar char="•"/>
            </a:pPr>
            <a:r>
              <a:rPr lang="en-US" sz="2000">
                <a:cs typeface="Arial"/>
              </a:rPr>
              <a:t>Qualify the perceived public need for Air Cargo Services</a:t>
            </a:r>
            <a:endParaRPr lang="en-US" sz="1600"/>
          </a:p>
          <a:p>
            <a:pPr marL="342900" indent="-342900">
              <a:lnSpc>
                <a:spcPct val="200000"/>
              </a:lnSpc>
              <a:buFont typeface="Arial"/>
              <a:buChar char="•"/>
            </a:pPr>
            <a:r>
              <a:rPr lang="en-US" sz="2000">
                <a:cs typeface="Arial"/>
              </a:rPr>
              <a:t>Keep Our Eyes on the Prize to Ensure ROI</a:t>
            </a:r>
          </a:p>
          <a:p>
            <a:pPr marL="342900" indent="-342900">
              <a:lnSpc>
                <a:spcPct val="200000"/>
              </a:lnSpc>
              <a:buFont typeface="Arial"/>
              <a:buChar char="•"/>
            </a:pPr>
            <a:r>
              <a:rPr lang="en-US" sz="2000">
                <a:cs typeface="Arial"/>
              </a:rPr>
              <a:t>Keep Our Fingers on the Customers Pulse</a:t>
            </a:r>
          </a:p>
          <a:p>
            <a:pPr algn="ctr">
              <a:lnSpc>
                <a:spcPct val="200000"/>
              </a:lnSpc>
            </a:pPr>
            <a:r>
              <a:rPr lang="en-US" sz="2000" i="1">
                <a:cs typeface="Arial"/>
              </a:rPr>
              <a:t>"Happy Customers are Repeat Customers"</a:t>
            </a:r>
          </a:p>
        </p:txBody>
      </p:sp>
    </p:spTree>
    <p:extLst>
      <p:ext uri="{BB962C8B-B14F-4D97-AF65-F5344CB8AC3E}">
        <p14:creationId xmlns:p14="http://schemas.microsoft.com/office/powerpoint/2010/main" val="497344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7472" y="402336"/>
            <a:ext cx="8439912" cy="404488"/>
          </a:xfrm>
        </p:spPr>
        <p:txBody>
          <a:bodyPr/>
          <a:lstStyle/>
          <a:p>
            <a:r>
              <a:rPr lang="en-US">
                <a:latin typeface="Arial"/>
                <a:cs typeface="Arial"/>
              </a:rPr>
              <a:t>Study Limitations</a:t>
            </a:r>
            <a:endParaRPr lang="en-US"/>
          </a:p>
        </p:txBody>
      </p:sp>
      <p:sp>
        <p:nvSpPr>
          <p:cNvPr id="2" name="TextBox 1">
            <a:extLst>
              <a:ext uri="{FF2B5EF4-FFF2-40B4-BE49-F238E27FC236}">
                <a16:creationId xmlns:a16="http://schemas.microsoft.com/office/drawing/2014/main" id="{E7827408-BB20-4AFA-B0C8-C7EBF84D74A0}"/>
              </a:ext>
            </a:extLst>
          </p:cNvPr>
          <p:cNvSpPr txBox="1"/>
          <p:nvPr/>
        </p:nvSpPr>
        <p:spPr>
          <a:xfrm>
            <a:off x="454714" y="1206350"/>
            <a:ext cx="7887604" cy="45550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indent="-342900">
              <a:lnSpc>
                <a:spcPct val="200000"/>
              </a:lnSpc>
              <a:buAutoNum type="arabicParenR"/>
            </a:pPr>
            <a:r>
              <a:rPr lang="en-US" sz="1600">
                <a:cs typeface="Arial"/>
              </a:rPr>
              <a:t>Scope – What direction of research to determine a best course of action </a:t>
            </a:r>
            <a:endParaRPr lang="en-US">
              <a:cs typeface="Arial"/>
            </a:endParaRPr>
          </a:p>
          <a:p>
            <a:pPr marL="342900" indent="-342900">
              <a:lnSpc>
                <a:spcPct val="200000"/>
              </a:lnSpc>
              <a:buAutoNum type="arabicParenR"/>
            </a:pPr>
            <a:r>
              <a:rPr lang="en-US" sz="1600">
                <a:cs typeface="Arial"/>
              </a:rPr>
              <a:t>Unprecedented Circumstances</a:t>
            </a:r>
          </a:p>
          <a:p>
            <a:pPr marL="800100" lvl="1" indent="-342900">
              <a:lnSpc>
                <a:spcPct val="200000"/>
              </a:lnSpc>
              <a:buAutoNum type="alphaUcPeriod"/>
            </a:pPr>
            <a:r>
              <a:rPr lang="en-US" sz="1600">
                <a:cs typeface="Arial"/>
              </a:rPr>
              <a:t>COVID-19 Pandemic</a:t>
            </a:r>
          </a:p>
          <a:p>
            <a:pPr marL="1257300" lvl="2" indent="-342900">
              <a:lnSpc>
                <a:spcPct val="150000"/>
              </a:lnSpc>
              <a:buAutoNum type="romanLcPeriod"/>
            </a:pPr>
            <a:r>
              <a:rPr lang="en-US" sz="1600">
                <a:cs typeface="Arial"/>
              </a:rPr>
              <a:t>Skewness of data – How long will the effects of the pandemic reflect the number of passengers flying SWA to determine how much offset needs to be concentrated on cargo operations</a:t>
            </a:r>
          </a:p>
          <a:p>
            <a:pPr marL="1257300" lvl="2" indent="-342900">
              <a:lnSpc>
                <a:spcPct val="150000"/>
              </a:lnSpc>
              <a:buAutoNum type="romanLcPeriod"/>
            </a:pPr>
            <a:r>
              <a:rPr lang="en-US" sz="1600">
                <a:cs typeface="Arial"/>
              </a:rPr>
              <a:t>Customer Sentiment – Customers are flying. But are they willing to pay more to fly SWA? How much will cargo operations affect domestic air travel?</a:t>
            </a:r>
          </a:p>
          <a:p>
            <a:pPr lvl="2">
              <a:lnSpc>
                <a:spcPct val="150000"/>
              </a:lnSpc>
            </a:pPr>
            <a:endParaRPr lang="en-US" sz="1600">
              <a:cs typeface="Arial"/>
            </a:endParaRPr>
          </a:p>
          <a:p>
            <a:pPr algn="ctr"/>
            <a:r>
              <a:rPr lang="en-US" sz="1600" i="1">
                <a:cs typeface="Arial"/>
              </a:rPr>
              <a:t>"Employee initiative was supported by management and encouraged at all levels" -</a:t>
            </a:r>
            <a:r>
              <a:rPr lang="en-US" sz="1600">
                <a:cs typeface="Arial"/>
              </a:rPr>
              <a:t> Inkpen</a:t>
            </a:r>
          </a:p>
        </p:txBody>
      </p:sp>
    </p:spTree>
    <p:extLst>
      <p:ext uri="{BB962C8B-B14F-4D97-AF65-F5344CB8AC3E}">
        <p14:creationId xmlns:p14="http://schemas.microsoft.com/office/powerpoint/2010/main" val="2486767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47472" y="402336"/>
            <a:ext cx="8439912" cy="404488"/>
          </a:xfrm>
        </p:spPr>
        <p:txBody>
          <a:bodyPr/>
          <a:lstStyle/>
          <a:p>
            <a:r>
              <a:rPr lang="en-US">
                <a:latin typeface="Arial"/>
                <a:cs typeface="Arial"/>
              </a:rPr>
              <a:t>Key References</a:t>
            </a:r>
            <a:endParaRPr lang="en-US"/>
          </a:p>
        </p:txBody>
      </p:sp>
      <p:sp>
        <p:nvSpPr>
          <p:cNvPr id="2" name="TextBox 1">
            <a:extLst>
              <a:ext uri="{FF2B5EF4-FFF2-40B4-BE49-F238E27FC236}">
                <a16:creationId xmlns:a16="http://schemas.microsoft.com/office/drawing/2014/main" id="{C75AFAF8-95A5-45ED-BD78-4C3590DDB13D}"/>
              </a:ext>
            </a:extLst>
          </p:cNvPr>
          <p:cNvSpPr txBox="1"/>
          <p:nvPr/>
        </p:nvSpPr>
        <p:spPr>
          <a:xfrm>
            <a:off x="349111" y="1249845"/>
            <a:ext cx="8612658" cy="32008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buFont typeface="Arial"/>
              <a:buChar char="•"/>
            </a:pPr>
            <a:r>
              <a:rPr lang="en-US" sz="1600">
                <a:ea typeface="+mn-lt"/>
                <a:cs typeface="+mn-lt"/>
              </a:rPr>
              <a:t>Airlines, S. (2021, April 7). </a:t>
            </a:r>
            <a:r>
              <a:rPr lang="en-US" sz="1600" i="1">
                <a:ea typeface="+mn-lt"/>
                <a:cs typeface="+mn-lt"/>
              </a:rPr>
              <a:t>PR Newswire</a:t>
            </a:r>
            <a:r>
              <a:rPr lang="en-US" sz="1600">
                <a:ea typeface="+mn-lt"/>
                <a:cs typeface="+mn-lt"/>
              </a:rPr>
              <a:t>. Retrieved from </a:t>
            </a:r>
            <a:r>
              <a:rPr lang="en-US" sz="1600" err="1">
                <a:ea typeface="+mn-lt"/>
                <a:cs typeface="+mn-lt"/>
              </a:rPr>
              <a:t>Cision</a:t>
            </a:r>
            <a:r>
              <a:rPr lang="en-US" sz="1600">
                <a:ea typeface="+mn-lt"/>
                <a:cs typeface="+mn-lt"/>
              </a:rPr>
              <a:t>: </a:t>
            </a:r>
            <a:r>
              <a:rPr lang="en-US" sz="1600">
                <a:ea typeface="+mn-lt"/>
                <a:cs typeface="+mn-lt"/>
                <a:hlinkClick r:id="rId2"/>
              </a:rPr>
              <a:t>https://www.prnewswire.com/news-releases/southwest-airlines-cargo-earns-top-honor-from-airforwarders-association-for-the-12th-consecutive-year-301264255.html</a:t>
            </a:r>
            <a:r>
              <a:rPr lang="en-US" sz="1600">
                <a:ea typeface="+mn-lt"/>
                <a:cs typeface="+mn-lt"/>
              </a:rPr>
              <a:t> </a:t>
            </a:r>
            <a:endParaRPr lang="en-US" sz="1600">
              <a:cs typeface="Arial"/>
            </a:endParaRPr>
          </a:p>
          <a:p>
            <a:pPr marL="285750" indent="-285750">
              <a:buFont typeface="Arial"/>
              <a:buChar char="•"/>
            </a:pPr>
            <a:endParaRPr lang="en-US" sz="1600">
              <a:ea typeface="+mn-lt"/>
              <a:cs typeface="+mn-lt"/>
            </a:endParaRPr>
          </a:p>
          <a:p>
            <a:pPr marL="285750" indent="-285750">
              <a:buFont typeface="Arial"/>
              <a:buChar char="•"/>
            </a:pPr>
            <a:r>
              <a:rPr lang="en-US" sz="1600">
                <a:ea typeface="+mn-lt"/>
                <a:cs typeface="+mn-lt"/>
              </a:rPr>
              <a:t>CAPA. (2021, July). </a:t>
            </a:r>
            <a:r>
              <a:rPr lang="en-US" sz="1600" i="1">
                <a:ea typeface="+mn-lt"/>
                <a:cs typeface="+mn-lt"/>
              </a:rPr>
              <a:t>Centre for Aviation</a:t>
            </a:r>
            <a:r>
              <a:rPr lang="en-US" sz="1600">
                <a:ea typeface="+mn-lt"/>
                <a:cs typeface="+mn-lt"/>
              </a:rPr>
              <a:t>. Retrieved from centreforaviation.com: </a:t>
            </a:r>
            <a:r>
              <a:rPr lang="en-US" sz="1600">
                <a:ea typeface="+mn-lt"/>
                <a:cs typeface="+mn-lt"/>
                <a:hlinkClick r:id="rId3"/>
              </a:rPr>
              <a:t>https://centreforaviation.com/news</a:t>
            </a:r>
            <a:r>
              <a:rPr lang="en-US" sz="1600">
                <a:ea typeface="+mn-lt"/>
                <a:cs typeface="+mn-lt"/>
              </a:rPr>
              <a:t> </a:t>
            </a:r>
            <a:endParaRPr lang="en-US" sz="1600">
              <a:cs typeface="Arial"/>
            </a:endParaRPr>
          </a:p>
          <a:p>
            <a:pPr marL="285750" indent="-285750">
              <a:buFont typeface="Arial"/>
              <a:buChar char="•"/>
            </a:pPr>
            <a:endParaRPr lang="en-US" sz="1600">
              <a:ea typeface="+mn-lt"/>
              <a:cs typeface="+mn-lt"/>
            </a:endParaRPr>
          </a:p>
          <a:p>
            <a:pPr marL="285750" indent="-285750">
              <a:buFont typeface="Arial"/>
              <a:buChar char="•"/>
            </a:pPr>
            <a:r>
              <a:rPr lang="en-US" sz="1600">
                <a:ea typeface="+mn-lt"/>
                <a:cs typeface="+mn-lt"/>
              </a:rPr>
              <a:t>Thomas, C. R. (2000). Manifest destiny: adaptive cargo routing at Southwest Airlines. </a:t>
            </a:r>
            <a:r>
              <a:rPr lang="en-US" sz="1600" i="1">
                <a:ea typeface="+mn-lt"/>
                <a:cs typeface="+mn-lt"/>
              </a:rPr>
              <a:t>Research Gate</a:t>
            </a:r>
            <a:r>
              <a:rPr lang="en-US" sz="1600">
                <a:ea typeface="+mn-lt"/>
                <a:cs typeface="+mn-lt"/>
              </a:rPr>
              <a:t>, 24. </a:t>
            </a:r>
          </a:p>
          <a:p>
            <a:endParaRPr lang="en-US" sz="1600">
              <a:cs typeface="Arial"/>
            </a:endParaRPr>
          </a:p>
          <a:p>
            <a:endParaRPr lang="en-US" sz="1600">
              <a:cs typeface="Arial"/>
            </a:endParaRPr>
          </a:p>
          <a:p>
            <a:endParaRPr lang="en-US" sz="1600">
              <a:cs typeface="Arial"/>
            </a:endParaRPr>
          </a:p>
          <a:p>
            <a:endParaRPr lang="en-US" sz="1600">
              <a:cs typeface="Arial"/>
            </a:endParaRPr>
          </a:p>
        </p:txBody>
      </p:sp>
    </p:spTree>
    <p:extLst>
      <p:ext uri="{BB962C8B-B14F-4D97-AF65-F5344CB8AC3E}">
        <p14:creationId xmlns:p14="http://schemas.microsoft.com/office/powerpoint/2010/main" val="2990767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B8FB665DE4CD4995BBDEE7DE25F8F7" ma:contentTypeVersion="9" ma:contentTypeDescription="Create a new document." ma:contentTypeScope="" ma:versionID="83c9c812078857d75902c04ee5bd54dd">
  <xsd:schema xmlns:xsd="http://www.w3.org/2001/XMLSchema" xmlns:xs="http://www.w3.org/2001/XMLSchema" xmlns:p="http://schemas.microsoft.com/office/2006/metadata/properties" xmlns:ns2="c5469b38-1d9d-4046-b9af-09f765474c70" targetNamespace="http://schemas.microsoft.com/office/2006/metadata/properties" ma:root="true" ma:fieldsID="4e875893e5505b662308cf53982d1b27" ns2:_="">
    <xsd:import namespace="c5469b38-1d9d-4046-b9af-09f765474c7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469b38-1d9d-4046-b9af-09f765474c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267F6F-2410-4788-BF7B-24175B920762}">
  <ds:schemaRefs>
    <ds:schemaRef ds:uri="c5469b38-1d9d-4046-b9af-09f765474c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F796FAE-5B88-441D-8852-C46BA1E67BA9}">
  <ds:schemaRefs>
    <ds:schemaRef ds:uri="c5469b38-1d9d-4046-b9af-09f765474c7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28B0042-F8B0-42DA-AD27-1ED3CF41173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10</Slides>
  <Notes>5</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PowerPoint Presentation</vt:lpstr>
      <vt:lpstr>Question</vt:lpstr>
      <vt:lpstr>Background</vt:lpstr>
      <vt:lpstr>Purpose</vt:lpstr>
      <vt:lpstr>Research Plan and Data Collection/Evaluation</vt:lpstr>
      <vt:lpstr>Data Processing and Performance</vt:lpstr>
      <vt:lpstr>Expected Results</vt:lpstr>
      <vt:lpstr>Study Limitations</vt:lpstr>
      <vt:lpstr>Key References</vt:lpstr>
      <vt:lpstr>PowerPoint Presentation</vt:lpstr>
    </vt:vector>
  </TitlesOfParts>
  <Company>Southwest Airlin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 White A/C Standard</dc:title>
  <dc:creator>Eric Daniels</dc:creator>
  <cp:revision>1</cp:revision>
  <cp:lastPrinted>2014-09-16T13:50:50Z</cp:lastPrinted>
  <dcterms:created xsi:type="dcterms:W3CDTF">2014-08-14T18:38:31Z</dcterms:created>
  <dcterms:modified xsi:type="dcterms:W3CDTF">2021-07-16T00:4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B8FB665DE4CD4995BBDEE7DE25F8F7</vt:lpwstr>
  </property>
  <property fmtid="{D5CDD505-2E9C-101B-9397-08002B2CF9AE}" pid="3" name="Sub-Topic">
    <vt:lpwstr/>
  </property>
  <property fmtid="{D5CDD505-2E9C-101B-9397-08002B2CF9AE}" pid="4" name="SWA Content Type">
    <vt:lpwstr>17;#Template|7027b0d2-374a-4769-9cb2-c50725f0aa7e</vt:lpwstr>
  </property>
  <property fmtid="{D5CDD505-2E9C-101B-9397-08002B2CF9AE}" pid="5" name="Topic">
    <vt:lpwstr/>
  </property>
  <property fmtid="{D5CDD505-2E9C-101B-9397-08002B2CF9AE}" pid="6" name="Sub-Domain">
    <vt:lpwstr>9;#Company Communications|488e844f-48bc-41a0-93ea-44ef0ef40596</vt:lpwstr>
  </property>
  <property fmtid="{D5CDD505-2E9C-101B-9397-08002B2CF9AE}" pid="7" name="Domain">
    <vt:lpwstr>8;#Company|be6df701-792b-4b17-b269-e1fdeea48101</vt:lpwstr>
  </property>
</Properties>
</file>